
<file path=[Content_Types].xml><?xml version="1.0" encoding="utf-8"?>
<Types xmlns="http://schemas.openxmlformats.org/package/2006/content-types">
  <Override PartName="/ppt/slides/slide6.xml" ContentType="application/vnd.openxmlformats-officedocument.presentationml.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emf" ContentType="image/x-emf"/>
  <Override PartName="/ppt/tags/tag2.xml" ContentType="application/vnd.openxmlformats-officedocument.presentationml.tags+xml"/>
  <Default Extension="jpeg" ContentType="image/jpeg"/>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Default Extension="vml" ContentType="application/vnd.openxmlformats-officedocument.vmlDrawing"/>
  <Override PartName="/ppt/changesInfos/changesInfo1.xml" ContentType="application/vnd.ms-powerpoint.changesinfo+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1"/>
  </p:sldMasterIdLst>
  <p:notesMasterIdLst>
    <p:notesMasterId r:id="rId27"/>
  </p:notesMasterIdLst>
  <p:sldIdLst>
    <p:sldId id="256" r:id="rId2"/>
    <p:sldId id="257" r:id="rId3"/>
    <p:sldId id="258" r:id="rId4"/>
    <p:sldId id="261" r:id="rId5"/>
    <p:sldId id="279" r:id="rId6"/>
    <p:sldId id="280" r:id="rId7"/>
    <p:sldId id="281" r:id="rId8"/>
    <p:sldId id="268" r:id="rId9"/>
    <p:sldId id="260" r:id="rId10"/>
    <p:sldId id="262" r:id="rId11"/>
    <p:sldId id="263" r:id="rId12"/>
    <p:sldId id="264" r:id="rId13"/>
    <p:sldId id="266" r:id="rId14"/>
    <p:sldId id="267" r:id="rId15"/>
    <p:sldId id="269" r:id="rId16"/>
    <p:sldId id="270" r:id="rId17"/>
    <p:sldId id="271" r:id="rId18"/>
    <p:sldId id="272" r:id="rId19"/>
    <p:sldId id="273" r:id="rId20"/>
    <p:sldId id="274" r:id="rId21"/>
    <p:sldId id="275" r:id="rId22"/>
    <p:sldId id="276" r:id="rId23"/>
    <p:sldId id="277" r:id="rId24"/>
    <p:sldId id="278" r:id="rId25"/>
    <p:sldId id="26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Untitled Section" id="{3C646661-66A2-44C1-9C27-0BE52CFFFB15}">
          <p14:sldIdLst>
            <p14:sldId id="256"/>
            <p14:sldId id="257"/>
            <p14:sldId id="258"/>
            <p14:sldId id="261"/>
            <p14:sldId id="279"/>
            <p14:sldId id="280"/>
            <p14:sldId id="281"/>
            <p14:sldId id="268"/>
            <p14:sldId id="260"/>
            <p14:sldId id="262"/>
            <p14:sldId id="263"/>
            <p14:sldId id="264"/>
            <p14:sldId id="266"/>
            <p14:sldId id="267"/>
            <p14:sldId id="269"/>
            <p14:sldId id="270"/>
            <p14:sldId id="271"/>
            <p14:sldId id="272"/>
            <p14:sldId id="273"/>
            <p14:sldId id="274"/>
            <p14:sldId id="275"/>
            <p14:sldId id="276"/>
            <p14:sldId id="277"/>
            <p14:sldId id="278"/>
            <p14:sldId id="265"/>
          </p14:sldIdLst>
        </p14:section>
      </p14:sectionLst>
    </p:ex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77AD22-33C3-4DF4-A1E6-B127B531C26C}" v="9" dt="2021-07-13T07:38:11.9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49"/>
    <p:restoredTop sz="94648"/>
  </p:normalViewPr>
  <p:slideViewPr>
    <p:cSldViewPr snapToGrid="0" snapToObjects="1">
      <p:cViewPr varScale="1">
        <p:scale>
          <a:sx n="68" d="100"/>
          <a:sy n="68" d="100"/>
        </p:scale>
        <p:origin x="-462" y="-96"/>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onwen Coleman (BOCM)" userId="3a29cb31-d177-4dcb-9581-286e8c6c26fc" providerId="ADAL" clId="{F377AD22-33C3-4DF4-A1E6-B127B531C26C}"/>
    <pc:docChg chg="undo custSel addSld delSld modSld sldOrd delMainMaster addSection">
      <pc:chgData name="Bronwen Coleman (BOCM)" userId="3a29cb31-d177-4dcb-9581-286e8c6c26fc" providerId="ADAL" clId="{F377AD22-33C3-4DF4-A1E6-B127B531C26C}" dt="2021-07-13T08:54:00.644" v="2909" actId="20577"/>
      <pc:docMkLst>
        <pc:docMk/>
      </pc:docMkLst>
      <pc:sldChg chg="modSp mod modClrScheme chgLayout">
        <pc:chgData name="Bronwen Coleman (BOCM)" userId="3a29cb31-d177-4dcb-9581-286e8c6c26fc" providerId="ADAL" clId="{F377AD22-33C3-4DF4-A1E6-B127B531C26C}" dt="2021-07-12T19:44:25.745" v="477" actId="20577"/>
        <pc:sldMkLst>
          <pc:docMk/>
          <pc:sldMk cId="2346970164" sldId="256"/>
        </pc:sldMkLst>
        <pc:spChg chg="mod ord">
          <ac:chgData name="Bronwen Coleman (BOCM)" userId="3a29cb31-d177-4dcb-9581-286e8c6c26fc" providerId="ADAL" clId="{F377AD22-33C3-4DF4-A1E6-B127B531C26C}" dt="2021-07-12T19:29:43.523" v="181" actId="14100"/>
          <ac:spMkLst>
            <pc:docMk/>
            <pc:sldMk cId="2346970164" sldId="256"/>
            <ac:spMk id="2" creationId="{0ED41F5F-6561-664F-9E9E-2D16AEA401DD}"/>
          </ac:spMkLst>
        </pc:spChg>
        <pc:spChg chg="mod ord">
          <ac:chgData name="Bronwen Coleman (BOCM)" userId="3a29cb31-d177-4dcb-9581-286e8c6c26fc" providerId="ADAL" clId="{F377AD22-33C3-4DF4-A1E6-B127B531C26C}" dt="2021-07-12T19:44:25.745" v="477" actId="20577"/>
          <ac:spMkLst>
            <pc:docMk/>
            <pc:sldMk cId="2346970164" sldId="256"/>
            <ac:spMk id="3" creationId="{FF80D265-6014-054F-9FA6-6C5E9686451B}"/>
          </ac:spMkLst>
        </pc:spChg>
      </pc:sldChg>
      <pc:sldChg chg="addSp delSp modSp mod modClrScheme chgLayout">
        <pc:chgData name="Bronwen Coleman (BOCM)" userId="3a29cb31-d177-4dcb-9581-286e8c6c26fc" providerId="ADAL" clId="{F377AD22-33C3-4DF4-A1E6-B127B531C26C}" dt="2021-07-13T07:24:56.193" v="521" actId="20577"/>
        <pc:sldMkLst>
          <pc:docMk/>
          <pc:sldMk cId="1545363612" sldId="257"/>
        </pc:sldMkLst>
        <pc:spChg chg="mod ord">
          <ac:chgData name="Bronwen Coleman (BOCM)" userId="3a29cb31-d177-4dcb-9581-286e8c6c26fc" providerId="ADAL" clId="{F377AD22-33C3-4DF4-A1E6-B127B531C26C}" dt="2021-07-12T19:44:42.115" v="480" actId="14100"/>
          <ac:spMkLst>
            <pc:docMk/>
            <pc:sldMk cId="1545363612" sldId="257"/>
            <ac:spMk id="2" creationId="{0ED41F5F-6561-664F-9E9E-2D16AEA401DD}"/>
          </ac:spMkLst>
        </pc:spChg>
        <pc:spChg chg="mod ord">
          <ac:chgData name="Bronwen Coleman (BOCM)" userId="3a29cb31-d177-4dcb-9581-286e8c6c26fc" providerId="ADAL" clId="{F377AD22-33C3-4DF4-A1E6-B127B531C26C}" dt="2021-07-13T07:24:56.193" v="521" actId="20577"/>
          <ac:spMkLst>
            <pc:docMk/>
            <pc:sldMk cId="1545363612" sldId="257"/>
            <ac:spMk id="3" creationId="{FF80D265-6014-054F-9FA6-6C5E9686451B}"/>
          </ac:spMkLst>
        </pc:spChg>
        <pc:spChg chg="add del mod ord">
          <ac:chgData name="Bronwen Coleman (BOCM)" userId="3a29cb31-d177-4dcb-9581-286e8c6c26fc" providerId="ADAL" clId="{F377AD22-33C3-4DF4-A1E6-B127B531C26C}" dt="2021-07-12T19:30:16.760" v="243" actId="478"/>
          <ac:spMkLst>
            <pc:docMk/>
            <pc:sldMk cId="1545363612" sldId="257"/>
            <ac:spMk id="4" creationId="{63BD3FF5-5301-43E7-813F-F2197D4CB252}"/>
          </ac:spMkLst>
        </pc:spChg>
        <pc:spChg chg="add del mod ord">
          <ac:chgData name="Bronwen Coleman (BOCM)" userId="3a29cb31-d177-4dcb-9581-286e8c6c26fc" providerId="ADAL" clId="{F377AD22-33C3-4DF4-A1E6-B127B531C26C}" dt="2021-07-12T19:31:12.623" v="274" actId="478"/>
          <ac:spMkLst>
            <pc:docMk/>
            <pc:sldMk cId="1545363612" sldId="257"/>
            <ac:spMk id="5" creationId="{807C0CAA-B667-4355-9943-7595176CD403}"/>
          </ac:spMkLst>
        </pc:spChg>
      </pc:sldChg>
      <pc:sldChg chg="addSp delSp modSp mod modClrScheme chgLayout">
        <pc:chgData name="Bronwen Coleman (BOCM)" userId="3a29cb31-d177-4dcb-9581-286e8c6c26fc" providerId="ADAL" clId="{F377AD22-33C3-4DF4-A1E6-B127B531C26C}" dt="2021-07-12T19:44:56.735" v="482" actId="255"/>
        <pc:sldMkLst>
          <pc:docMk/>
          <pc:sldMk cId="1760449109" sldId="258"/>
        </pc:sldMkLst>
        <pc:spChg chg="mod ord">
          <ac:chgData name="Bronwen Coleman (BOCM)" userId="3a29cb31-d177-4dcb-9581-286e8c6c26fc" providerId="ADAL" clId="{F377AD22-33C3-4DF4-A1E6-B127B531C26C}" dt="2021-07-12T19:44:52.690" v="481" actId="255"/>
          <ac:spMkLst>
            <pc:docMk/>
            <pc:sldMk cId="1760449109" sldId="258"/>
            <ac:spMk id="2" creationId="{0ED41F5F-6561-664F-9E9E-2D16AEA401DD}"/>
          </ac:spMkLst>
        </pc:spChg>
        <pc:spChg chg="mod ord">
          <ac:chgData name="Bronwen Coleman (BOCM)" userId="3a29cb31-d177-4dcb-9581-286e8c6c26fc" providerId="ADAL" clId="{F377AD22-33C3-4DF4-A1E6-B127B531C26C}" dt="2021-07-12T19:44:56.735" v="482" actId="255"/>
          <ac:spMkLst>
            <pc:docMk/>
            <pc:sldMk cId="1760449109" sldId="258"/>
            <ac:spMk id="3" creationId="{FF80D265-6014-054F-9FA6-6C5E9686451B}"/>
          </ac:spMkLst>
        </pc:spChg>
        <pc:spChg chg="add del mod ord">
          <ac:chgData name="Bronwen Coleman (BOCM)" userId="3a29cb31-d177-4dcb-9581-286e8c6c26fc" providerId="ADAL" clId="{F377AD22-33C3-4DF4-A1E6-B127B531C26C}" dt="2021-07-12T19:31:30.416" v="278" actId="478"/>
          <ac:spMkLst>
            <pc:docMk/>
            <pc:sldMk cId="1760449109" sldId="258"/>
            <ac:spMk id="4" creationId="{028C3679-333D-4945-A48E-BA5649481B23}"/>
          </ac:spMkLst>
        </pc:spChg>
      </pc:sldChg>
      <pc:sldChg chg="addSp delSp modSp mod modClrScheme chgLayout">
        <pc:chgData name="Bronwen Coleman (BOCM)" userId="3a29cb31-d177-4dcb-9581-286e8c6c26fc" providerId="ADAL" clId="{F377AD22-33C3-4DF4-A1E6-B127B531C26C}" dt="2021-07-13T07:46:57.505" v="1067" actId="20577"/>
        <pc:sldMkLst>
          <pc:docMk/>
          <pc:sldMk cId="487073578" sldId="260"/>
        </pc:sldMkLst>
        <pc:spChg chg="mod ord">
          <ac:chgData name="Bronwen Coleman (BOCM)" userId="3a29cb31-d177-4dcb-9581-286e8c6c26fc" providerId="ADAL" clId="{F377AD22-33C3-4DF4-A1E6-B127B531C26C}" dt="2021-07-12T19:31:02.159" v="251" actId="700"/>
          <ac:spMkLst>
            <pc:docMk/>
            <pc:sldMk cId="487073578" sldId="260"/>
            <ac:spMk id="2" creationId="{0ED41F5F-6561-664F-9E9E-2D16AEA401DD}"/>
          </ac:spMkLst>
        </pc:spChg>
        <pc:spChg chg="mod ord">
          <ac:chgData name="Bronwen Coleman (BOCM)" userId="3a29cb31-d177-4dcb-9581-286e8c6c26fc" providerId="ADAL" clId="{F377AD22-33C3-4DF4-A1E6-B127B531C26C}" dt="2021-07-13T07:46:57.505" v="1067" actId="20577"/>
          <ac:spMkLst>
            <pc:docMk/>
            <pc:sldMk cId="487073578" sldId="260"/>
            <ac:spMk id="3" creationId="{FF80D265-6014-054F-9FA6-6C5E9686451B}"/>
          </ac:spMkLst>
        </pc:spChg>
        <pc:spChg chg="add del mod ord">
          <ac:chgData name="Bronwen Coleman (BOCM)" userId="3a29cb31-d177-4dcb-9581-286e8c6c26fc" providerId="ADAL" clId="{F377AD22-33C3-4DF4-A1E6-B127B531C26C}" dt="2021-07-12T19:37:17.886" v="373" actId="478"/>
          <ac:spMkLst>
            <pc:docMk/>
            <pc:sldMk cId="487073578" sldId="260"/>
            <ac:spMk id="4" creationId="{3413B9C2-BA40-4AE3-8FFA-A614B8A3316E}"/>
          </ac:spMkLst>
        </pc:spChg>
      </pc:sldChg>
      <pc:sldChg chg="addSp delSp modSp mod modClrScheme chgLayout">
        <pc:chgData name="Bronwen Coleman (BOCM)" userId="3a29cb31-d177-4dcb-9581-286e8c6c26fc" providerId="ADAL" clId="{F377AD22-33C3-4DF4-A1E6-B127B531C26C}" dt="2021-07-13T07:34:27.068" v="526" actId="14100"/>
        <pc:sldMkLst>
          <pc:docMk/>
          <pc:sldMk cId="3563038678" sldId="261"/>
        </pc:sldMkLst>
        <pc:spChg chg="mod ord">
          <ac:chgData name="Bronwen Coleman (BOCM)" userId="3a29cb31-d177-4dcb-9581-286e8c6c26fc" providerId="ADAL" clId="{F377AD22-33C3-4DF4-A1E6-B127B531C26C}" dt="2021-07-12T19:45:10.654" v="485" actId="255"/>
          <ac:spMkLst>
            <pc:docMk/>
            <pc:sldMk cId="3563038678" sldId="261"/>
            <ac:spMk id="2" creationId="{0ED41F5F-6561-664F-9E9E-2D16AEA401DD}"/>
          </ac:spMkLst>
        </pc:spChg>
        <pc:spChg chg="mod ord">
          <ac:chgData name="Bronwen Coleman (BOCM)" userId="3a29cb31-d177-4dcb-9581-286e8c6c26fc" providerId="ADAL" clId="{F377AD22-33C3-4DF4-A1E6-B127B531C26C}" dt="2021-07-13T07:34:27.068" v="526" actId="14100"/>
          <ac:spMkLst>
            <pc:docMk/>
            <pc:sldMk cId="3563038678" sldId="261"/>
            <ac:spMk id="3" creationId="{FF80D265-6014-054F-9FA6-6C5E9686451B}"/>
          </ac:spMkLst>
        </pc:spChg>
        <pc:spChg chg="add del mod ord">
          <ac:chgData name="Bronwen Coleman (BOCM)" userId="3a29cb31-d177-4dcb-9581-286e8c6c26fc" providerId="ADAL" clId="{F377AD22-33C3-4DF4-A1E6-B127B531C26C}" dt="2021-07-12T19:32:04.946" v="285" actId="478"/>
          <ac:spMkLst>
            <pc:docMk/>
            <pc:sldMk cId="3563038678" sldId="261"/>
            <ac:spMk id="4" creationId="{8745707A-E79B-44A0-BBE4-F7F08F14C107}"/>
          </ac:spMkLst>
        </pc:spChg>
      </pc:sldChg>
      <pc:sldChg chg="addSp delSp modSp mod modClrScheme chgLayout">
        <pc:chgData name="Bronwen Coleman (BOCM)" userId="3a29cb31-d177-4dcb-9581-286e8c6c26fc" providerId="ADAL" clId="{F377AD22-33C3-4DF4-A1E6-B127B531C26C}" dt="2021-07-13T07:56:03.565" v="1116" actId="20577"/>
        <pc:sldMkLst>
          <pc:docMk/>
          <pc:sldMk cId="672807095" sldId="262"/>
        </pc:sldMkLst>
        <pc:spChg chg="mod ord">
          <ac:chgData name="Bronwen Coleman (BOCM)" userId="3a29cb31-d177-4dcb-9581-286e8c6c26fc" providerId="ADAL" clId="{F377AD22-33C3-4DF4-A1E6-B127B531C26C}" dt="2021-07-12T19:31:02.159" v="251" actId="700"/>
          <ac:spMkLst>
            <pc:docMk/>
            <pc:sldMk cId="672807095" sldId="262"/>
            <ac:spMk id="2" creationId="{0ED41F5F-6561-664F-9E9E-2D16AEA401DD}"/>
          </ac:spMkLst>
        </pc:spChg>
        <pc:spChg chg="mod ord">
          <ac:chgData name="Bronwen Coleman (BOCM)" userId="3a29cb31-d177-4dcb-9581-286e8c6c26fc" providerId="ADAL" clId="{F377AD22-33C3-4DF4-A1E6-B127B531C26C}" dt="2021-07-13T07:56:03.565" v="1116" actId="20577"/>
          <ac:spMkLst>
            <pc:docMk/>
            <pc:sldMk cId="672807095" sldId="262"/>
            <ac:spMk id="3" creationId="{FF80D265-6014-054F-9FA6-6C5E9686451B}"/>
          </ac:spMkLst>
        </pc:spChg>
        <pc:spChg chg="add del mod ord">
          <ac:chgData name="Bronwen Coleman (BOCM)" userId="3a29cb31-d177-4dcb-9581-286e8c6c26fc" providerId="ADAL" clId="{F377AD22-33C3-4DF4-A1E6-B127B531C26C}" dt="2021-07-12T19:37:43.508" v="382" actId="478"/>
          <ac:spMkLst>
            <pc:docMk/>
            <pc:sldMk cId="672807095" sldId="262"/>
            <ac:spMk id="4" creationId="{508CA305-F1E7-4FA2-A826-2D60D57A1D58}"/>
          </ac:spMkLst>
        </pc:spChg>
      </pc:sldChg>
      <pc:sldChg chg="addSp delSp modSp mod modClrScheme chgLayout">
        <pc:chgData name="Bronwen Coleman (BOCM)" userId="3a29cb31-d177-4dcb-9581-286e8c6c26fc" providerId="ADAL" clId="{F377AD22-33C3-4DF4-A1E6-B127B531C26C}" dt="2021-07-13T07:58:25.380" v="1162" actId="404"/>
        <pc:sldMkLst>
          <pc:docMk/>
          <pc:sldMk cId="1106105563" sldId="263"/>
        </pc:sldMkLst>
        <pc:spChg chg="mod ord">
          <ac:chgData name="Bronwen Coleman (BOCM)" userId="3a29cb31-d177-4dcb-9581-286e8c6c26fc" providerId="ADAL" clId="{F377AD22-33C3-4DF4-A1E6-B127B531C26C}" dt="2021-07-13T07:58:25.380" v="1162" actId="404"/>
          <ac:spMkLst>
            <pc:docMk/>
            <pc:sldMk cId="1106105563" sldId="263"/>
            <ac:spMk id="3" creationId="{FF80D265-6014-054F-9FA6-6C5E9686451B}"/>
          </ac:spMkLst>
        </pc:spChg>
        <pc:spChg chg="del">
          <ac:chgData name="Bronwen Coleman (BOCM)" userId="3a29cb31-d177-4dcb-9581-286e8c6c26fc" providerId="ADAL" clId="{F377AD22-33C3-4DF4-A1E6-B127B531C26C}" dt="2021-07-12T19:38:02.420" v="386" actId="478"/>
          <ac:spMkLst>
            <pc:docMk/>
            <pc:sldMk cId="1106105563" sldId="263"/>
            <ac:spMk id="6" creationId="{93D4714F-BFE1-45B4-9EBE-00484B768132}"/>
          </ac:spMkLst>
        </pc:spChg>
        <pc:spChg chg="add del mod ord">
          <ac:chgData name="Bronwen Coleman (BOCM)" userId="3a29cb31-d177-4dcb-9581-286e8c6c26fc" providerId="ADAL" clId="{F377AD22-33C3-4DF4-A1E6-B127B531C26C}" dt="2021-07-12T19:31:02.159" v="251" actId="700"/>
          <ac:spMkLst>
            <pc:docMk/>
            <pc:sldMk cId="1106105563" sldId="263"/>
            <ac:spMk id="7" creationId="{86E3F1E7-9345-4EC6-AC3D-13C968509F57}"/>
          </ac:spMkLst>
        </pc:spChg>
        <pc:spChg chg="add mod ord">
          <ac:chgData name="Bronwen Coleman (BOCM)" userId="3a29cb31-d177-4dcb-9581-286e8c6c26fc" providerId="ADAL" clId="{F377AD22-33C3-4DF4-A1E6-B127B531C26C}" dt="2021-07-12T19:47:36.793" v="515" actId="1076"/>
          <ac:spMkLst>
            <pc:docMk/>
            <pc:sldMk cId="1106105563" sldId="263"/>
            <ac:spMk id="8" creationId="{8774466F-F3AE-4E71-8F63-07E5CEF9D346}"/>
          </ac:spMkLst>
        </pc:spChg>
        <pc:spChg chg="add del mod ord">
          <ac:chgData name="Bronwen Coleman (BOCM)" userId="3a29cb31-d177-4dcb-9581-286e8c6c26fc" providerId="ADAL" clId="{F377AD22-33C3-4DF4-A1E6-B127B531C26C}" dt="2021-07-12T19:37:54.040" v="384" actId="478"/>
          <ac:spMkLst>
            <pc:docMk/>
            <pc:sldMk cId="1106105563" sldId="263"/>
            <ac:spMk id="9" creationId="{297C5A9B-AA90-42C3-88B2-2D85CBD7F487}"/>
          </ac:spMkLst>
        </pc:spChg>
      </pc:sldChg>
      <pc:sldChg chg="addSp delSp modSp mod modClrScheme chgLayout">
        <pc:chgData name="Bronwen Coleman (BOCM)" userId="3a29cb31-d177-4dcb-9581-286e8c6c26fc" providerId="ADAL" clId="{F377AD22-33C3-4DF4-A1E6-B127B531C26C}" dt="2021-07-13T08:03:27.821" v="1267" actId="404"/>
        <pc:sldMkLst>
          <pc:docMk/>
          <pc:sldMk cId="4109756775" sldId="264"/>
        </pc:sldMkLst>
        <pc:spChg chg="mod ord">
          <ac:chgData name="Bronwen Coleman (BOCM)" userId="3a29cb31-d177-4dcb-9581-286e8c6c26fc" providerId="ADAL" clId="{F377AD22-33C3-4DF4-A1E6-B127B531C26C}" dt="2021-07-13T08:03:27.821" v="1267" actId="404"/>
          <ac:spMkLst>
            <pc:docMk/>
            <pc:sldMk cId="4109756775" sldId="264"/>
            <ac:spMk id="3" creationId="{FF80D265-6014-054F-9FA6-6C5E9686451B}"/>
          </ac:spMkLst>
        </pc:spChg>
        <pc:spChg chg="del">
          <ac:chgData name="Bronwen Coleman (BOCM)" userId="3a29cb31-d177-4dcb-9581-286e8c6c26fc" providerId="ADAL" clId="{F377AD22-33C3-4DF4-A1E6-B127B531C26C}" dt="2021-07-12T19:38:33.373" v="396" actId="478"/>
          <ac:spMkLst>
            <pc:docMk/>
            <pc:sldMk cId="4109756775" sldId="264"/>
            <ac:spMk id="6" creationId="{781239D3-13A4-4CFC-AC14-26E7F13F7D11}"/>
          </ac:spMkLst>
        </pc:spChg>
        <pc:spChg chg="add del mod ord">
          <ac:chgData name="Bronwen Coleman (BOCM)" userId="3a29cb31-d177-4dcb-9581-286e8c6c26fc" providerId="ADAL" clId="{F377AD22-33C3-4DF4-A1E6-B127B531C26C}" dt="2021-07-12T19:31:02.159" v="251" actId="700"/>
          <ac:spMkLst>
            <pc:docMk/>
            <pc:sldMk cId="4109756775" sldId="264"/>
            <ac:spMk id="7" creationId="{24B8FECB-AAC9-46AB-96B3-E1D182E1661D}"/>
          </ac:spMkLst>
        </pc:spChg>
        <pc:spChg chg="add del mod ord">
          <ac:chgData name="Bronwen Coleman (BOCM)" userId="3a29cb31-d177-4dcb-9581-286e8c6c26fc" providerId="ADAL" clId="{F377AD22-33C3-4DF4-A1E6-B127B531C26C}" dt="2021-07-12T19:39:27.811" v="409" actId="255"/>
          <ac:spMkLst>
            <pc:docMk/>
            <pc:sldMk cId="4109756775" sldId="264"/>
            <ac:spMk id="8" creationId="{1E21F117-A320-4790-9A8E-C6ED22A9F977}"/>
          </ac:spMkLst>
        </pc:spChg>
        <pc:spChg chg="add del mod ord">
          <ac:chgData name="Bronwen Coleman (BOCM)" userId="3a29cb31-d177-4dcb-9581-286e8c6c26fc" providerId="ADAL" clId="{F377AD22-33C3-4DF4-A1E6-B127B531C26C}" dt="2021-07-12T19:38:51.908" v="402" actId="478"/>
          <ac:spMkLst>
            <pc:docMk/>
            <pc:sldMk cId="4109756775" sldId="264"/>
            <ac:spMk id="9" creationId="{29BB2C03-6090-4FD1-B853-A0B0AE7EA03B}"/>
          </ac:spMkLst>
        </pc:spChg>
        <pc:spChg chg="add del mod">
          <ac:chgData name="Bronwen Coleman (BOCM)" userId="3a29cb31-d177-4dcb-9581-286e8c6c26fc" providerId="ADAL" clId="{F377AD22-33C3-4DF4-A1E6-B127B531C26C}" dt="2021-07-12T19:38:39.247" v="398" actId="478"/>
          <ac:spMkLst>
            <pc:docMk/>
            <pc:sldMk cId="4109756775" sldId="264"/>
            <ac:spMk id="11" creationId="{7E510EDB-A2A8-4B8D-9970-AC3A41862F55}"/>
          </ac:spMkLst>
        </pc:spChg>
        <pc:spChg chg="add del mod">
          <ac:chgData name="Bronwen Coleman (BOCM)" userId="3a29cb31-d177-4dcb-9581-286e8c6c26fc" providerId="ADAL" clId="{F377AD22-33C3-4DF4-A1E6-B127B531C26C}" dt="2021-07-12T19:38:46.641" v="400" actId="478"/>
          <ac:spMkLst>
            <pc:docMk/>
            <pc:sldMk cId="4109756775" sldId="264"/>
            <ac:spMk id="13" creationId="{09711A74-4571-45AE-AF1C-3F52BD240C16}"/>
          </ac:spMkLst>
        </pc:spChg>
      </pc:sldChg>
      <pc:sldChg chg="addSp delSp modSp mod modClrScheme chgLayout">
        <pc:chgData name="Bronwen Coleman (BOCM)" userId="3a29cb31-d177-4dcb-9581-286e8c6c26fc" providerId="ADAL" clId="{F377AD22-33C3-4DF4-A1E6-B127B531C26C}" dt="2021-07-12T19:43:44.607" v="468" actId="1076"/>
        <pc:sldMkLst>
          <pc:docMk/>
          <pc:sldMk cId="328521146" sldId="265"/>
        </pc:sldMkLst>
        <pc:spChg chg="mod ord">
          <ac:chgData name="Bronwen Coleman (BOCM)" userId="3a29cb31-d177-4dcb-9581-286e8c6c26fc" providerId="ADAL" clId="{F377AD22-33C3-4DF4-A1E6-B127B531C26C}" dt="2021-07-12T19:31:02.159" v="251" actId="700"/>
          <ac:spMkLst>
            <pc:docMk/>
            <pc:sldMk cId="328521146" sldId="265"/>
            <ac:spMk id="2" creationId="{0ED41F5F-6561-664F-9E9E-2D16AEA401DD}"/>
          </ac:spMkLst>
        </pc:spChg>
        <pc:spChg chg="mod ord">
          <ac:chgData name="Bronwen Coleman (BOCM)" userId="3a29cb31-d177-4dcb-9581-286e8c6c26fc" providerId="ADAL" clId="{F377AD22-33C3-4DF4-A1E6-B127B531C26C}" dt="2021-07-12T19:43:44.607" v="468" actId="1076"/>
          <ac:spMkLst>
            <pc:docMk/>
            <pc:sldMk cId="328521146" sldId="265"/>
            <ac:spMk id="3" creationId="{FF80D265-6014-054F-9FA6-6C5E9686451B}"/>
          </ac:spMkLst>
        </pc:spChg>
        <pc:spChg chg="add del mod ord">
          <ac:chgData name="Bronwen Coleman (BOCM)" userId="3a29cb31-d177-4dcb-9581-286e8c6c26fc" providerId="ADAL" clId="{F377AD22-33C3-4DF4-A1E6-B127B531C26C}" dt="2021-07-12T19:42:56.154" v="460" actId="478"/>
          <ac:spMkLst>
            <pc:docMk/>
            <pc:sldMk cId="328521146" sldId="265"/>
            <ac:spMk id="4" creationId="{C9E937A7-676C-4C11-83C3-A5178D824A96}"/>
          </ac:spMkLst>
        </pc:spChg>
      </pc:sldChg>
      <pc:sldChg chg="addSp delSp modSp mod modClrScheme chgLayout">
        <pc:chgData name="Bronwen Coleman (BOCM)" userId="3a29cb31-d177-4dcb-9581-286e8c6c26fc" providerId="ADAL" clId="{F377AD22-33C3-4DF4-A1E6-B127B531C26C}" dt="2021-07-13T08:07:15.485" v="1845" actId="404"/>
        <pc:sldMkLst>
          <pc:docMk/>
          <pc:sldMk cId="3266857517" sldId="266"/>
        </pc:sldMkLst>
        <pc:spChg chg="mod ord">
          <ac:chgData name="Bronwen Coleman (BOCM)" userId="3a29cb31-d177-4dcb-9581-286e8c6c26fc" providerId="ADAL" clId="{F377AD22-33C3-4DF4-A1E6-B127B531C26C}" dt="2021-07-12T19:31:02.159" v="251" actId="700"/>
          <ac:spMkLst>
            <pc:docMk/>
            <pc:sldMk cId="3266857517" sldId="266"/>
            <ac:spMk id="2" creationId="{0ED41F5F-6561-664F-9E9E-2D16AEA401DD}"/>
          </ac:spMkLst>
        </pc:spChg>
        <pc:spChg chg="mod ord">
          <ac:chgData name="Bronwen Coleman (BOCM)" userId="3a29cb31-d177-4dcb-9581-286e8c6c26fc" providerId="ADAL" clId="{F377AD22-33C3-4DF4-A1E6-B127B531C26C}" dt="2021-07-13T08:07:15.485" v="1845" actId="404"/>
          <ac:spMkLst>
            <pc:docMk/>
            <pc:sldMk cId="3266857517" sldId="266"/>
            <ac:spMk id="3" creationId="{FF80D265-6014-054F-9FA6-6C5E9686451B}"/>
          </ac:spMkLst>
        </pc:spChg>
        <pc:spChg chg="add del mod ord">
          <ac:chgData name="Bronwen Coleman (BOCM)" userId="3a29cb31-d177-4dcb-9581-286e8c6c26fc" providerId="ADAL" clId="{F377AD22-33C3-4DF4-A1E6-B127B531C26C}" dt="2021-07-12T19:39:20.838" v="408" actId="478"/>
          <ac:spMkLst>
            <pc:docMk/>
            <pc:sldMk cId="3266857517" sldId="266"/>
            <ac:spMk id="4" creationId="{77539258-8E6B-433E-A777-11575BF6F165}"/>
          </ac:spMkLst>
        </pc:spChg>
      </pc:sldChg>
      <pc:sldChg chg="addSp delSp modSp mod modClrScheme chgLayout">
        <pc:chgData name="Bronwen Coleman (BOCM)" userId="3a29cb31-d177-4dcb-9581-286e8c6c26fc" providerId="ADAL" clId="{F377AD22-33C3-4DF4-A1E6-B127B531C26C}" dt="2021-07-13T08:11:30.075" v="2095" actId="404"/>
        <pc:sldMkLst>
          <pc:docMk/>
          <pc:sldMk cId="1911712713" sldId="267"/>
        </pc:sldMkLst>
        <pc:spChg chg="mod ord">
          <ac:chgData name="Bronwen Coleman (BOCM)" userId="3a29cb31-d177-4dcb-9581-286e8c6c26fc" providerId="ADAL" clId="{F377AD22-33C3-4DF4-A1E6-B127B531C26C}" dt="2021-07-13T08:11:30.075" v="2095" actId="404"/>
          <ac:spMkLst>
            <pc:docMk/>
            <pc:sldMk cId="1911712713" sldId="267"/>
            <ac:spMk id="3" creationId="{FF80D265-6014-054F-9FA6-6C5E9686451B}"/>
          </ac:spMkLst>
        </pc:spChg>
        <pc:spChg chg="del">
          <ac:chgData name="Bronwen Coleman (BOCM)" userId="3a29cb31-d177-4dcb-9581-286e8c6c26fc" providerId="ADAL" clId="{F377AD22-33C3-4DF4-A1E6-B127B531C26C}" dt="2021-07-12T19:40:01.521" v="416" actId="478"/>
          <ac:spMkLst>
            <pc:docMk/>
            <pc:sldMk cId="1911712713" sldId="267"/>
            <ac:spMk id="6" creationId="{0118B6D1-D20B-4038-9A48-7BFD246C8646}"/>
          </ac:spMkLst>
        </pc:spChg>
        <pc:spChg chg="add del mod ord">
          <ac:chgData name="Bronwen Coleman (BOCM)" userId="3a29cb31-d177-4dcb-9581-286e8c6c26fc" providerId="ADAL" clId="{F377AD22-33C3-4DF4-A1E6-B127B531C26C}" dt="2021-07-12T19:31:02.159" v="251" actId="700"/>
          <ac:spMkLst>
            <pc:docMk/>
            <pc:sldMk cId="1911712713" sldId="267"/>
            <ac:spMk id="7" creationId="{DB8284DF-4AAF-4C22-A99A-422B3BB8FCEE}"/>
          </ac:spMkLst>
        </pc:spChg>
        <pc:spChg chg="add mod ord">
          <ac:chgData name="Bronwen Coleman (BOCM)" userId="3a29cb31-d177-4dcb-9581-286e8c6c26fc" providerId="ADAL" clId="{F377AD22-33C3-4DF4-A1E6-B127B531C26C}" dt="2021-07-12T19:40:06.103" v="417" actId="255"/>
          <ac:spMkLst>
            <pc:docMk/>
            <pc:sldMk cId="1911712713" sldId="267"/>
            <ac:spMk id="8" creationId="{10C666C3-5F87-4F13-9ADE-513779C861E1}"/>
          </ac:spMkLst>
        </pc:spChg>
        <pc:spChg chg="add del mod ord">
          <ac:chgData name="Bronwen Coleman (BOCM)" userId="3a29cb31-d177-4dcb-9581-286e8c6c26fc" providerId="ADAL" clId="{F377AD22-33C3-4DF4-A1E6-B127B531C26C}" dt="2021-07-12T19:40:08.952" v="418" actId="478"/>
          <ac:spMkLst>
            <pc:docMk/>
            <pc:sldMk cId="1911712713" sldId="267"/>
            <ac:spMk id="9" creationId="{2C4D5589-9032-44E2-8EB9-2FCB256626A6}"/>
          </ac:spMkLst>
        </pc:spChg>
      </pc:sldChg>
      <pc:sldChg chg="addSp delSp modSp mod modClrScheme chgLayout">
        <pc:chgData name="Bronwen Coleman (BOCM)" userId="3a29cb31-d177-4dcb-9581-286e8c6c26fc" providerId="ADAL" clId="{F377AD22-33C3-4DF4-A1E6-B127B531C26C}" dt="2021-07-13T07:42:50.509" v="896" actId="255"/>
        <pc:sldMkLst>
          <pc:docMk/>
          <pc:sldMk cId="2884474940" sldId="268"/>
        </pc:sldMkLst>
        <pc:spChg chg="mod ord">
          <ac:chgData name="Bronwen Coleman (BOCM)" userId="3a29cb31-d177-4dcb-9581-286e8c6c26fc" providerId="ADAL" clId="{F377AD22-33C3-4DF4-A1E6-B127B531C26C}" dt="2021-07-12T19:46:43.346" v="506" actId="255"/>
          <ac:spMkLst>
            <pc:docMk/>
            <pc:sldMk cId="2884474940" sldId="268"/>
            <ac:spMk id="2" creationId="{0ED41F5F-6561-664F-9E9E-2D16AEA401DD}"/>
          </ac:spMkLst>
        </pc:spChg>
        <pc:spChg chg="mod ord">
          <ac:chgData name="Bronwen Coleman (BOCM)" userId="3a29cb31-d177-4dcb-9581-286e8c6c26fc" providerId="ADAL" clId="{F377AD22-33C3-4DF4-A1E6-B127B531C26C}" dt="2021-07-13T07:42:50.509" v="896" actId="255"/>
          <ac:spMkLst>
            <pc:docMk/>
            <pc:sldMk cId="2884474940" sldId="268"/>
            <ac:spMk id="3" creationId="{FF80D265-6014-054F-9FA6-6C5E9686451B}"/>
          </ac:spMkLst>
        </pc:spChg>
        <pc:spChg chg="add del mod ord">
          <ac:chgData name="Bronwen Coleman (BOCM)" userId="3a29cb31-d177-4dcb-9581-286e8c6c26fc" providerId="ADAL" clId="{F377AD22-33C3-4DF4-A1E6-B127B531C26C}" dt="2021-07-12T19:35:18.825" v="321" actId="478"/>
          <ac:spMkLst>
            <pc:docMk/>
            <pc:sldMk cId="2884474940" sldId="268"/>
            <ac:spMk id="4" creationId="{9299372D-0DDB-4876-88AF-071E4AFA1336}"/>
          </ac:spMkLst>
        </pc:spChg>
      </pc:sldChg>
      <pc:sldChg chg="addSp delSp modSp mod modClrScheme chgLayout">
        <pc:chgData name="Bronwen Coleman (BOCM)" userId="3a29cb31-d177-4dcb-9581-286e8c6c26fc" providerId="ADAL" clId="{F377AD22-33C3-4DF4-A1E6-B127B531C26C}" dt="2021-07-12T19:40:45.310" v="425" actId="1076"/>
        <pc:sldMkLst>
          <pc:docMk/>
          <pc:sldMk cId="3204727939" sldId="269"/>
        </pc:sldMkLst>
        <pc:spChg chg="mod ord">
          <ac:chgData name="Bronwen Coleman (BOCM)" userId="3a29cb31-d177-4dcb-9581-286e8c6c26fc" providerId="ADAL" clId="{F377AD22-33C3-4DF4-A1E6-B127B531C26C}" dt="2021-07-12T19:31:02.159" v="251" actId="700"/>
          <ac:spMkLst>
            <pc:docMk/>
            <pc:sldMk cId="3204727939" sldId="269"/>
            <ac:spMk id="2" creationId="{0ED41F5F-6561-664F-9E9E-2D16AEA401DD}"/>
          </ac:spMkLst>
        </pc:spChg>
        <pc:spChg chg="mod ord">
          <ac:chgData name="Bronwen Coleman (BOCM)" userId="3a29cb31-d177-4dcb-9581-286e8c6c26fc" providerId="ADAL" clId="{F377AD22-33C3-4DF4-A1E6-B127B531C26C}" dt="2021-07-12T19:40:45.310" v="425" actId="1076"/>
          <ac:spMkLst>
            <pc:docMk/>
            <pc:sldMk cId="3204727939" sldId="269"/>
            <ac:spMk id="3" creationId="{FF80D265-6014-054F-9FA6-6C5E9686451B}"/>
          </ac:spMkLst>
        </pc:spChg>
        <pc:spChg chg="add del mod ord">
          <ac:chgData name="Bronwen Coleman (BOCM)" userId="3a29cb31-d177-4dcb-9581-286e8c6c26fc" providerId="ADAL" clId="{F377AD22-33C3-4DF4-A1E6-B127B531C26C}" dt="2021-07-12T19:40:30.190" v="422" actId="478"/>
          <ac:spMkLst>
            <pc:docMk/>
            <pc:sldMk cId="3204727939" sldId="269"/>
            <ac:spMk id="4" creationId="{4C969FFC-42AD-4C97-AD82-348DB2327E77}"/>
          </ac:spMkLst>
        </pc:spChg>
      </pc:sldChg>
      <pc:sldChg chg="addSp delSp modSp mod modClrScheme chgLayout">
        <pc:chgData name="Bronwen Coleman (BOCM)" userId="3a29cb31-d177-4dcb-9581-286e8c6c26fc" providerId="ADAL" clId="{F377AD22-33C3-4DF4-A1E6-B127B531C26C}" dt="2021-07-13T08:14:41.525" v="2129" actId="33524"/>
        <pc:sldMkLst>
          <pc:docMk/>
          <pc:sldMk cId="2991240651" sldId="270"/>
        </pc:sldMkLst>
        <pc:spChg chg="mod ord">
          <ac:chgData name="Bronwen Coleman (BOCM)" userId="3a29cb31-d177-4dcb-9581-286e8c6c26fc" providerId="ADAL" clId="{F377AD22-33C3-4DF4-A1E6-B127B531C26C}" dt="2021-07-12T19:31:02.159" v="251" actId="700"/>
          <ac:spMkLst>
            <pc:docMk/>
            <pc:sldMk cId="2991240651" sldId="270"/>
            <ac:spMk id="2" creationId="{0ED41F5F-6561-664F-9E9E-2D16AEA401DD}"/>
          </ac:spMkLst>
        </pc:spChg>
        <pc:spChg chg="mod ord">
          <ac:chgData name="Bronwen Coleman (BOCM)" userId="3a29cb31-d177-4dcb-9581-286e8c6c26fc" providerId="ADAL" clId="{F377AD22-33C3-4DF4-A1E6-B127B531C26C}" dt="2021-07-13T08:14:41.525" v="2129" actId="33524"/>
          <ac:spMkLst>
            <pc:docMk/>
            <pc:sldMk cId="2991240651" sldId="270"/>
            <ac:spMk id="3" creationId="{FF80D265-6014-054F-9FA6-6C5E9686451B}"/>
          </ac:spMkLst>
        </pc:spChg>
        <pc:spChg chg="add del mod ord">
          <ac:chgData name="Bronwen Coleman (BOCM)" userId="3a29cb31-d177-4dcb-9581-286e8c6c26fc" providerId="ADAL" clId="{F377AD22-33C3-4DF4-A1E6-B127B531C26C}" dt="2021-07-12T19:40:52.457" v="426" actId="478"/>
          <ac:spMkLst>
            <pc:docMk/>
            <pc:sldMk cId="2991240651" sldId="270"/>
            <ac:spMk id="4" creationId="{980CA7F0-F518-4833-B99F-8C80B5E916D3}"/>
          </ac:spMkLst>
        </pc:spChg>
      </pc:sldChg>
      <pc:sldChg chg="addSp delSp modSp mod modClrScheme chgLayout">
        <pc:chgData name="Bronwen Coleman (BOCM)" userId="3a29cb31-d177-4dcb-9581-286e8c6c26fc" providerId="ADAL" clId="{F377AD22-33C3-4DF4-A1E6-B127B531C26C}" dt="2021-07-13T08:17:21.597" v="2254" actId="20577"/>
        <pc:sldMkLst>
          <pc:docMk/>
          <pc:sldMk cId="945131702" sldId="271"/>
        </pc:sldMkLst>
        <pc:spChg chg="mod ord">
          <ac:chgData name="Bronwen Coleman (BOCM)" userId="3a29cb31-d177-4dcb-9581-286e8c6c26fc" providerId="ADAL" clId="{F377AD22-33C3-4DF4-A1E6-B127B531C26C}" dt="2021-07-12T19:31:02.159" v="251" actId="700"/>
          <ac:spMkLst>
            <pc:docMk/>
            <pc:sldMk cId="945131702" sldId="271"/>
            <ac:spMk id="2" creationId="{0ED41F5F-6561-664F-9E9E-2D16AEA401DD}"/>
          </ac:spMkLst>
        </pc:spChg>
        <pc:spChg chg="mod ord">
          <ac:chgData name="Bronwen Coleman (BOCM)" userId="3a29cb31-d177-4dcb-9581-286e8c6c26fc" providerId="ADAL" clId="{F377AD22-33C3-4DF4-A1E6-B127B531C26C}" dt="2021-07-13T08:17:21.597" v="2254" actId="20577"/>
          <ac:spMkLst>
            <pc:docMk/>
            <pc:sldMk cId="945131702" sldId="271"/>
            <ac:spMk id="3" creationId="{FF80D265-6014-054F-9FA6-6C5E9686451B}"/>
          </ac:spMkLst>
        </pc:spChg>
        <pc:spChg chg="add del mod ord">
          <ac:chgData name="Bronwen Coleman (BOCM)" userId="3a29cb31-d177-4dcb-9581-286e8c6c26fc" providerId="ADAL" clId="{F377AD22-33C3-4DF4-A1E6-B127B531C26C}" dt="2021-07-12T19:41:03.817" v="430" actId="478"/>
          <ac:spMkLst>
            <pc:docMk/>
            <pc:sldMk cId="945131702" sldId="271"/>
            <ac:spMk id="4" creationId="{BDF54B69-3E43-44F9-832E-BC35361962C0}"/>
          </ac:spMkLst>
        </pc:spChg>
      </pc:sldChg>
      <pc:sldChg chg="addSp delSp modSp mod modClrScheme chgLayout">
        <pc:chgData name="Bronwen Coleman (BOCM)" userId="3a29cb31-d177-4dcb-9581-286e8c6c26fc" providerId="ADAL" clId="{F377AD22-33C3-4DF4-A1E6-B127B531C26C}" dt="2021-07-13T08:22:13.623" v="2640" actId="27636"/>
        <pc:sldMkLst>
          <pc:docMk/>
          <pc:sldMk cId="2813512618" sldId="272"/>
        </pc:sldMkLst>
        <pc:spChg chg="mod ord">
          <ac:chgData name="Bronwen Coleman (BOCM)" userId="3a29cb31-d177-4dcb-9581-286e8c6c26fc" providerId="ADAL" clId="{F377AD22-33C3-4DF4-A1E6-B127B531C26C}" dt="2021-07-12T19:41:21.994" v="436" actId="255"/>
          <ac:spMkLst>
            <pc:docMk/>
            <pc:sldMk cId="2813512618" sldId="272"/>
            <ac:spMk id="2" creationId="{0ED41F5F-6561-664F-9E9E-2D16AEA401DD}"/>
          </ac:spMkLst>
        </pc:spChg>
        <pc:spChg chg="mod ord">
          <ac:chgData name="Bronwen Coleman (BOCM)" userId="3a29cb31-d177-4dcb-9581-286e8c6c26fc" providerId="ADAL" clId="{F377AD22-33C3-4DF4-A1E6-B127B531C26C}" dt="2021-07-13T08:22:13.623" v="2640" actId="27636"/>
          <ac:spMkLst>
            <pc:docMk/>
            <pc:sldMk cId="2813512618" sldId="272"/>
            <ac:spMk id="3" creationId="{FF80D265-6014-054F-9FA6-6C5E9686451B}"/>
          </ac:spMkLst>
        </pc:spChg>
        <pc:spChg chg="add del mod ord">
          <ac:chgData name="Bronwen Coleman (BOCM)" userId="3a29cb31-d177-4dcb-9581-286e8c6c26fc" providerId="ADAL" clId="{F377AD22-33C3-4DF4-A1E6-B127B531C26C}" dt="2021-07-12T19:41:23.657" v="437" actId="478"/>
          <ac:spMkLst>
            <pc:docMk/>
            <pc:sldMk cId="2813512618" sldId="272"/>
            <ac:spMk id="4" creationId="{F259DAE5-D29A-4F4C-B726-6FAB6B5D3486}"/>
          </ac:spMkLst>
        </pc:spChg>
      </pc:sldChg>
      <pc:sldChg chg="addSp delSp modSp mod modClrScheme chgLayout">
        <pc:chgData name="Bronwen Coleman (BOCM)" userId="3a29cb31-d177-4dcb-9581-286e8c6c26fc" providerId="ADAL" clId="{F377AD22-33C3-4DF4-A1E6-B127B531C26C}" dt="2021-07-12T19:41:44.598" v="442" actId="27636"/>
        <pc:sldMkLst>
          <pc:docMk/>
          <pc:sldMk cId="969988265" sldId="273"/>
        </pc:sldMkLst>
        <pc:spChg chg="mod ord">
          <ac:chgData name="Bronwen Coleman (BOCM)" userId="3a29cb31-d177-4dcb-9581-286e8c6c26fc" providerId="ADAL" clId="{F377AD22-33C3-4DF4-A1E6-B127B531C26C}" dt="2021-07-12T19:31:02.159" v="251" actId="700"/>
          <ac:spMkLst>
            <pc:docMk/>
            <pc:sldMk cId="969988265" sldId="273"/>
            <ac:spMk id="2" creationId="{0ED41F5F-6561-664F-9E9E-2D16AEA401DD}"/>
          </ac:spMkLst>
        </pc:spChg>
        <pc:spChg chg="mod ord">
          <ac:chgData name="Bronwen Coleman (BOCM)" userId="3a29cb31-d177-4dcb-9581-286e8c6c26fc" providerId="ADAL" clId="{F377AD22-33C3-4DF4-A1E6-B127B531C26C}" dt="2021-07-12T19:41:44.598" v="442" actId="27636"/>
          <ac:spMkLst>
            <pc:docMk/>
            <pc:sldMk cId="969988265" sldId="273"/>
            <ac:spMk id="3" creationId="{FF80D265-6014-054F-9FA6-6C5E9686451B}"/>
          </ac:spMkLst>
        </pc:spChg>
        <pc:spChg chg="add del mod ord">
          <ac:chgData name="Bronwen Coleman (BOCM)" userId="3a29cb31-d177-4dcb-9581-286e8c6c26fc" providerId="ADAL" clId="{F377AD22-33C3-4DF4-A1E6-B127B531C26C}" dt="2021-07-12T19:41:38.957" v="439" actId="478"/>
          <ac:spMkLst>
            <pc:docMk/>
            <pc:sldMk cId="969988265" sldId="273"/>
            <ac:spMk id="4" creationId="{1666BD39-FAB2-46D9-A4A3-912CEC471430}"/>
          </ac:spMkLst>
        </pc:spChg>
      </pc:sldChg>
      <pc:sldChg chg="addSp delSp modSp mod modClrScheme chgLayout">
        <pc:chgData name="Bronwen Coleman (BOCM)" userId="3a29cb31-d177-4dcb-9581-286e8c6c26fc" providerId="ADAL" clId="{F377AD22-33C3-4DF4-A1E6-B127B531C26C}" dt="2021-07-12T19:42:15.805" v="448" actId="1076"/>
        <pc:sldMkLst>
          <pc:docMk/>
          <pc:sldMk cId="1816420747" sldId="274"/>
        </pc:sldMkLst>
        <pc:spChg chg="mod ord">
          <ac:chgData name="Bronwen Coleman (BOCM)" userId="3a29cb31-d177-4dcb-9581-286e8c6c26fc" providerId="ADAL" clId="{F377AD22-33C3-4DF4-A1E6-B127B531C26C}" dt="2021-07-12T19:42:11.873" v="447" actId="1076"/>
          <ac:spMkLst>
            <pc:docMk/>
            <pc:sldMk cId="1816420747" sldId="274"/>
            <ac:spMk id="2" creationId="{0ED41F5F-6561-664F-9E9E-2D16AEA401DD}"/>
          </ac:spMkLst>
        </pc:spChg>
        <pc:spChg chg="mod ord">
          <ac:chgData name="Bronwen Coleman (BOCM)" userId="3a29cb31-d177-4dcb-9581-286e8c6c26fc" providerId="ADAL" clId="{F377AD22-33C3-4DF4-A1E6-B127B531C26C}" dt="2021-07-12T19:42:15.805" v="448" actId="1076"/>
          <ac:spMkLst>
            <pc:docMk/>
            <pc:sldMk cId="1816420747" sldId="274"/>
            <ac:spMk id="3" creationId="{FF80D265-6014-054F-9FA6-6C5E9686451B}"/>
          </ac:spMkLst>
        </pc:spChg>
        <pc:spChg chg="add del mod ord">
          <ac:chgData name="Bronwen Coleman (BOCM)" userId="3a29cb31-d177-4dcb-9581-286e8c6c26fc" providerId="ADAL" clId="{F377AD22-33C3-4DF4-A1E6-B127B531C26C}" dt="2021-07-12T19:41:49.772" v="443" actId="478"/>
          <ac:spMkLst>
            <pc:docMk/>
            <pc:sldMk cId="1816420747" sldId="274"/>
            <ac:spMk id="4" creationId="{6B60DDAF-289E-4423-AF13-DDE28270AA81}"/>
          </ac:spMkLst>
        </pc:spChg>
      </pc:sldChg>
      <pc:sldChg chg="addSp delSp modSp mod modClrScheme chgLayout">
        <pc:chgData name="Bronwen Coleman (BOCM)" userId="3a29cb31-d177-4dcb-9581-286e8c6c26fc" providerId="ADAL" clId="{F377AD22-33C3-4DF4-A1E6-B127B531C26C}" dt="2021-07-12T19:42:23.078" v="450" actId="1076"/>
        <pc:sldMkLst>
          <pc:docMk/>
          <pc:sldMk cId="3480030401" sldId="275"/>
        </pc:sldMkLst>
        <pc:spChg chg="mod ord">
          <ac:chgData name="Bronwen Coleman (BOCM)" userId="3a29cb31-d177-4dcb-9581-286e8c6c26fc" providerId="ADAL" clId="{F377AD22-33C3-4DF4-A1E6-B127B531C26C}" dt="2021-07-12T19:31:02.159" v="251" actId="700"/>
          <ac:spMkLst>
            <pc:docMk/>
            <pc:sldMk cId="3480030401" sldId="275"/>
            <ac:spMk id="2" creationId="{0ED41F5F-6561-664F-9E9E-2D16AEA401DD}"/>
          </ac:spMkLst>
        </pc:spChg>
        <pc:spChg chg="mod ord">
          <ac:chgData name="Bronwen Coleman (BOCM)" userId="3a29cb31-d177-4dcb-9581-286e8c6c26fc" providerId="ADAL" clId="{F377AD22-33C3-4DF4-A1E6-B127B531C26C}" dt="2021-07-12T19:42:23.078" v="450" actId="1076"/>
          <ac:spMkLst>
            <pc:docMk/>
            <pc:sldMk cId="3480030401" sldId="275"/>
            <ac:spMk id="3" creationId="{FF80D265-6014-054F-9FA6-6C5E9686451B}"/>
          </ac:spMkLst>
        </pc:spChg>
        <pc:spChg chg="add del mod ord">
          <ac:chgData name="Bronwen Coleman (BOCM)" userId="3a29cb31-d177-4dcb-9581-286e8c6c26fc" providerId="ADAL" clId="{F377AD22-33C3-4DF4-A1E6-B127B531C26C}" dt="2021-07-12T19:42:19.448" v="449" actId="478"/>
          <ac:spMkLst>
            <pc:docMk/>
            <pc:sldMk cId="3480030401" sldId="275"/>
            <ac:spMk id="4" creationId="{2AA71353-C17D-4949-B106-AB0D9C3A439D}"/>
          </ac:spMkLst>
        </pc:spChg>
      </pc:sldChg>
      <pc:sldChg chg="addSp delSp modSp mod modClrScheme chgLayout">
        <pc:chgData name="Bronwen Coleman (BOCM)" userId="3a29cb31-d177-4dcb-9581-286e8c6c26fc" providerId="ADAL" clId="{F377AD22-33C3-4DF4-A1E6-B127B531C26C}" dt="2021-07-13T08:28:05.113" v="2644" actId="20577"/>
        <pc:sldMkLst>
          <pc:docMk/>
          <pc:sldMk cId="617944188" sldId="276"/>
        </pc:sldMkLst>
        <pc:spChg chg="mod ord">
          <ac:chgData name="Bronwen Coleman (BOCM)" userId="3a29cb31-d177-4dcb-9581-286e8c6c26fc" providerId="ADAL" clId="{F377AD22-33C3-4DF4-A1E6-B127B531C26C}" dt="2021-07-12T19:31:02.159" v="251" actId="700"/>
          <ac:spMkLst>
            <pc:docMk/>
            <pc:sldMk cId="617944188" sldId="276"/>
            <ac:spMk id="2" creationId="{0ED41F5F-6561-664F-9E9E-2D16AEA401DD}"/>
          </ac:spMkLst>
        </pc:spChg>
        <pc:spChg chg="mod ord">
          <ac:chgData name="Bronwen Coleman (BOCM)" userId="3a29cb31-d177-4dcb-9581-286e8c6c26fc" providerId="ADAL" clId="{F377AD22-33C3-4DF4-A1E6-B127B531C26C}" dt="2021-07-13T08:28:05.113" v="2644" actId="20577"/>
          <ac:spMkLst>
            <pc:docMk/>
            <pc:sldMk cId="617944188" sldId="276"/>
            <ac:spMk id="3" creationId="{FF80D265-6014-054F-9FA6-6C5E9686451B}"/>
          </ac:spMkLst>
        </pc:spChg>
        <pc:spChg chg="add del mod ord">
          <ac:chgData name="Bronwen Coleman (BOCM)" userId="3a29cb31-d177-4dcb-9581-286e8c6c26fc" providerId="ADAL" clId="{F377AD22-33C3-4DF4-A1E6-B127B531C26C}" dt="2021-07-12T19:42:27.139" v="451" actId="478"/>
          <ac:spMkLst>
            <pc:docMk/>
            <pc:sldMk cId="617944188" sldId="276"/>
            <ac:spMk id="4" creationId="{87A8099A-08E4-46A3-8867-152B898F357B}"/>
          </ac:spMkLst>
        </pc:spChg>
      </pc:sldChg>
      <pc:sldChg chg="addSp delSp modSp mod modClrScheme chgLayout">
        <pc:chgData name="Bronwen Coleman (BOCM)" userId="3a29cb31-d177-4dcb-9581-286e8c6c26fc" providerId="ADAL" clId="{F377AD22-33C3-4DF4-A1E6-B127B531C26C}" dt="2021-07-13T08:52:37.147" v="2897" actId="20577"/>
        <pc:sldMkLst>
          <pc:docMk/>
          <pc:sldMk cId="455603508" sldId="277"/>
        </pc:sldMkLst>
        <pc:spChg chg="mod ord">
          <ac:chgData name="Bronwen Coleman (BOCM)" userId="3a29cb31-d177-4dcb-9581-286e8c6c26fc" providerId="ADAL" clId="{F377AD22-33C3-4DF4-A1E6-B127B531C26C}" dt="2021-07-12T19:31:02.525" v="270" actId="27636"/>
          <ac:spMkLst>
            <pc:docMk/>
            <pc:sldMk cId="455603508" sldId="277"/>
            <ac:spMk id="2" creationId="{0ED41F5F-6561-664F-9E9E-2D16AEA401DD}"/>
          </ac:spMkLst>
        </pc:spChg>
        <pc:spChg chg="mod ord">
          <ac:chgData name="Bronwen Coleman (BOCM)" userId="3a29cb31-d177-4dcb-9581-286e8c6c26fc" providerId="ADAL" clId="{F377AD22-33C3-4DF4-A1E6-B127B531C26C}" dt="2021-07-13T08:52:37.147" v="2897" actId="20577"/>
          <ac:spMkLst>
            <pc:docMk/>
            <pc:sldMk cId="455603508" sldId="277"/>
            <ac:spMk id="3" creationId="{FF80D265-6014-054F-9FA6-6C5E9686451B}"/>
          </ac:spMkLst>
        </pc:spChg>
        <pc:spChg chg="add del mod ord">
          <ac:chgData name="Bronwen Coleman (BOCM)" userId="3a29cb31-d177-4dcb-9581-286e8c6c26fc" providerId="ADAL" clId="{F377AD22-33C3-4DF4-A1E6-B127B531C26C}" dt="2021-07-12T19:42:39.806" v="455" actId="478"/>
          <ac:spMkLst>
            <pc:docMk/>
            <pc:sldMk cId="455603508" sldId="277"/>
            <ac:spMk id="4" creationId="{DB702165-C71E-4D81-8684-30A475926CED}"/>
          </ac:spMkLst>
        </pc:spChg>
      </pc:sldChg>
      <pc:sldChg chg="addSp delSp modSp mod modClrScheme chgLayout">
        <pc:chgData name="Bronwen Coleman (BOCM)" userId="3a29cb31-d177-4dcb-9581-286e8c6c26fc" providerId="ADAL" clId="{F377AD22-33C3-4DF4-A1E6-B127B531C26C}" dt="2021-07-13T08:54:00.644" v="2909" actId="20577"/>
        <pc:sldMkLst>
          <pc:docMk/>
          <pc:sldMk cId="1661538265" sldId="278"/>
        </pc:sldMkLst>
        <pc:spChg chg="mod ord">
          <ac:chgData name="Bronwen Coleman (BOCM)" userId="3a29cb31-d177-4dcb-9581-286e8c6c26fc" providerId="ADAL" clId="{F377AD22-33C3-4DF4-A1E6-B127B531C26C}" dt="2021-07-12T19:44:06.113" v="474" actId="1076"/>
          <ac:spMkLst>
            <pc:docMk/>
            <pc:sldMk cId="1661538265" sldId="278"/>
            <ac:spMk id="2" creationId="{0ED41F5F-6561-664F-9E9E-2D16AEA401DD}"/>
          </ac:spMkLst>
        </pc:spChg>
        <pc:spChg chg="mod ord">
          <ac:chgData name="Bronwen Coleman (BOCM)" userId="3a29cb31-d177-4dcb-9581-286e8c6c26fc" providerId="ADAL" clId="{F377AD22-33C3-4DF4-A1E6-B127B531C26C}" dt="2021-07-13T08:54:00.644" v="2909" actId="20577"/>
          <ac:spMkLst>
            <pc:docMk/>
            <pc:sldMk cId="1661538265" sldId="278"/>
            <ac:spMk id="3" creationId="{FF80D265-6014-054F-9FA6-6C5E9686451B}"/>
          </ac:spMkLst>
        </pc:spChg>
        <pc:spChg chg="add del mod ord">
          <ac:chgData name="Bronwen Coleman (BOCM)" userId="3a29cb31-d177-4dcb-9581-286e8c6c26fc" providerId="ADAL" clId="{F377AD22-33C3-4DF4-A1E6-B127B531C26C}" dt="2021-07-12T19:43:48.856" v="469" actId="478"/>
          <ac:spMkLst>
            <pc:docMk/>
            <pc:sldMk cId="1661538265" sldId="278"/>
            <ac:spMk id="4" creationId="{20A455ED-B2F4-4781-A1AB-5A4B387EED9E}"/>
          </ac:spMkLst>
        </pc:spChg>
      </pc:sldChg>
      <pc:sldChg chg="addSp delSp modSp add mod ord modClrScheme chgLayout">
        <pc:chgData name="Bronwen Coleman (BOCM)" userId="3a29cb31-d177-4dcb-9581-286e8c6c26fc" providerId="ADAL" clId="{F377AD22-33C3-4DF4-A1E6-B127B531C26C}" dt="2021-07-13T07:34:58.780" v="528" actId="114"/>
        <pc:sldMkLst>
          <pc:docMk/>
          <pc:sldMk cId="298145949" sldId="279"/>
        </pc:sldMkLst>
        <pc:spChg chg="add del mod">
          <ac:chgData name="Bronwen Coleman (BOCM)" userId="3a29cb31-d177-4dcb-9581-286e8c6c26fc" providerId="ADAL" clId="{F377AD22-33C3-4DF4-A1E6-B127B531C26C}" dt="2021-07-12T19:16:39.433" v="37" actId="478"/>
          <ac:spMkLst>
            <pc:docMk/>
            <pc:sldMk cId="298145949" sldId="279"/>
            <ac:spMk id="3" creationId="{43061008-FE8F-4819-AC05-86274795786B}"/>
          </ac:spMkLst>
        </pc:spChg>
        <pc:spChg chg="del">
          <ac:chgData name="Bronwen Coleman (BOCM)" userId="3a29cb31-d177-4dcb-9581-286e8c6c26fc" providerId="ADAL" clId="{F377AD22-33C3-4DF4-A1E6-B127B531C26C}" dt="2021-07-12T19:16:37.124" v="36" actId="478"/>
          <ac:spMkLst>
            <pc:docMk/>
            <pc:sldMk cId="298145949" sldId="279"/>
            <ac:spMk id="4" creationId="{92E92950-B6AE-47B7-B7F8-5C0134F75675}"/>
          </ac:spMkLst>
        </pc:spChg>
        <pc:spChg chg="mod ord">
          <ac:chgData name="Bronwen Coleman (BOCM)" userId="3a29cb31-d177-4dcb-9581-286e8c6c26fc" providerId="ADAL" clId="{F377AD22-33C3-4DF4-A1E6-B127B531C26C}" dt="2021-07-13T07:34:49.677" v="527" actId="1076"/>
          <ac:spMkLst>
            <pc:docMk/>
            <pc:sldMk cId="298145949" sldId="279"/>
            <ac:spMk id="5" creationId="{9914DB14-5560-4559-8EE8-3882BFAE243F}"/>
          </ac:spMkLst>
        </pc:spChg>
        <pc:spChg chg="mod">
          <ac:chgData name="Bronwen Coleman (BOCM)" userId="3a29cb31-d177-4dcb-9581-286e8c6c26fc" providerId="ADAL" clId="{F377AD22-33C3-4DF4-A1E6-B127B531C26C}" dt="2021-07-13T07:34:58.780" v="528" actId="114"/>
          <ac:spMkLst>
            <pc:docMk/>
            <pc:sldMk cId="298145949" sldId="279"/>
            <ac:spMk id="6" creationId="{D26708B0-7C60-448E-AB3C-251C0E73DC25}"/>
          </ac:spMkLst>
        </pc:spChg>
        <pc:spChg chg="add del mod">
          <ac:chgData name="Bronwen Coleman (BOCM)" userId="3a29cb31-d177-4dcb-9581-286e8c6c26fc" providerId="ADAL" clId="{F377AD22-33C3-4DF4-A1E6-B127B531C26C}" dt="2021-07-12T19:32:40.526" v="291" actId="478"/>
          <ac:spMkLst>
            <pc:docMk/>
            <pc:sldMk cId="298145949" sldId="279"/>
            <ac:spMk id="7" creationId="{5F48E003-7E72-44C3-9924-25B8E66AE55E}"/>
          </ac:spMkLst>
        </pc:spChg>
        <pc:spChg chg="add del mod ord">
          <ac:chgData name="Bronwen Coleman (BOCM)" userId="3a29cb31-d177-4dcb-9581-286e8c6c26fc" providerId="ADAL" clId="{F377AD22-33C3-4DF4-A1E6-B127B531C26C}" dt="2021-07-12T19:31:02.159" v="251" actId="700"/>
          <ac:spMkLst>
            <pc:docMk/>
            <pc:sldMk cId="298145949" sldId="279"/>
            <ac:spMk id="8" creationId="{26AD7C2C-D32F-4638-9EE5-6C4AC26F31C5}"/>
          </ac:spMkLst>
        </pc:spChg>
        <pc:spChg chg="add mod ord">
          <ac:chgData name="Bronwen Coleman (BOCM)" userId="3a29cb31-d177-4dcb-9581-286e8c6c26fc" providerId="ADAL" clId="{F377AD22-33C3-4DF4-A1E6-B127B531C26C}" dt="2021-07-12T19:45:16.778" v="486" actId="255"/>
          <ac:spMkLst>
            <pc:docMk/>
            <pc:sldMk cId="298145949" sldId="279"/>
            <ac:spMk id="9" creationId="{B9382ECC-82F8-4244-AF9A-74A7CD5B80EC}"/>
          </ac:spMkLst>
        </pc:spChg>
        <pc:spChg chg="add del mod ord">
          <ac:chgData name="Bronwen Coleman (BOCM)" userId="3a29cb31-d177-4dcb-9581-286e8c6c26fc" providerId="ADAL" clId="{F377AD22-33C3-4DF4-A1E6-B127B531C26C}" dt="2021-07-12T19:32:53.249" v="293" actId="478"/>
          <ac:spMkLst>
            <pc:docMk/>
            <pc:sldMk cId="298145949" sldId="279"/>
            <ac:spMk id="10" creationId="{443CCF6A-B322-4F04-9573-A411F157C974}"/>
          </ac:spMkLst>
        </pc:spChg>
      </pc:sldChg>
      <pc:sldChg chg="addSp delSp modSp add mod modClrScheme chgLayout">
        <pc:chgData name="Bronwen Coleman (BOCM)" userId="3a29cb31-d177-4dcb-9581-286e8c6c26fc" providerId="ADAL" clId="{F377AD22-33C3-4DF4-A1E6-B127B531C26C}" dt="2021-07-13T07:35:30.563" v="531" actId="20577"/>
        <pc:sldMkLst>
          <pc:docMk/>
          <pc:sldMk cId="2670069345" sldId="280"/>
        </pc:sldMkLst>
        <pc:spChg chg="del">
          <ac:chgData name="Bronwen Coleman (BOCM)" userId="3a29cb31-d177-4dcb-9581-286e8c6c26fc" providerId="ADAL" clId="{F377AD22-33C3-4DF4-A1E6-B127B531C26C}" dt="2021-07-12T19:21:18.317" v="67" actId="478"/>
          <ac:spMkLst>
            <pc:docMk/>
            <pc:sldMk cId="2670069345" sldId="280"/>
            <ac:spMk id="2" creationId="{001C16CF-8A93-42E9-AC07-53812C15CC4E}"/>
          </ac:spMkLst>
        </pc:spChg>
        <pc:spChg chg="mod ord">
          <ac:chgData name="Bronwen Coleman (BOCM)" userId="3a29cb31-d177-4dcb-9581-286e8c6c26fc" providerId="ADAL" clId="{F377AD22-33C3-4DF4-A1E6-B127B531C26C}" dt="2021-07-13T07:35:30.563" v="531" actId="20577"/>
          <ac:spMkLst>
            <pc:docMk/>
            <pc:sldMk cId="2670069345" sldId="280"/>
            <ac:spMk id="3" creationId="{2118C215-C2F2-4AB3-AE47-A2172E368BD4}"/>
          </ac:spMkLst>
        </pc:spChg>
        <pc:spChg chg="add mod">
          <ac:chgData name="Bronwen Coleman (BOCM)" userId="3a29cb31-d177-4dcb-9581-286e8c6c26fc" providerId="ADAL" clId="{F377AD22-33C3-4DF4-A1E6-B127B531C26C}" dt="2021-07-12T19:33:19.985" v="299" actId="27636"/>
          <ac:spMkLst>
            <pc:docMk/>
            <pc:sldMk cId="2670069345" sldId="280"/>
            <ac:spMk id="4" creationId="{2E28AED6-C8A0-47C8-A401-70156C14B5B5}"/>
          </ac:spMkLst>
        </pc:spChg>
        <pc:spChg chg="add del mod">
          <ac:chgData name="Bronwen Coleman (BOCM)" userId="3a29cb31-d177-4dcb-9581-286e8c6c26fc" providerId="ADAL" clId="{F377AD22-33C3-4DF4-A1E6-B127B531C26C}" dt="2021-07-12T19:21:20.648" v="68" actId="478"/>
          <ac:spMkLst>
            <pc:docMk/>
            <pc:sldMk cId="2670069345" sldId="280"/>
            <ac:spMk id="6" creationId="{596C2752-2E56-42A0-86D7-75F4B5C77EA7}"/>
          </ac:spMkLst>
        </pc:spChg>
        <pc:spChg chg="add del mod ord">
          <ac:chgData name="Bronwen Coleman (BOCM)" userId="3a29cb31-d177-4dcb-9581-286e8c6c26fc" providerId="ADAL" clId="{F377AD22-33C3-4DF4-A1E6-B127B531C26C}" dt="2021-07-12T19:31:02.159" v="251" actId="700"/>
          <ac:spMkLst>
            <pc:docMk/>
            <pc:sldMk cId="2670069345" sldId="280"/>
            <ac:spMk id="7" creationId="{C5946EC7-CD2E-40C8-B720-8BB464FDB704}"/>
          </ac:spMkLst>
        </pc:spChg>
        <pc:spChg chg="add mod ord">
          <ac:chgData name="Bronwen Coleman (BOCM)" userId="3a29cb31-d177-4dcb-9581-286e8c6c26fc" providerId="ADAL" clId="{F377AD22-33C3-4DF4-A1E6-B127B531C26C}" dt="2021-07-12T19:45:35.481" v="490" actId="255"/>
          <ac:spMkLst>
            <pc:docMk/>
            <pc:sldMk cId="2670069345" sldId="280"/>
            <ac:spMk id="8" creationId="{D7905CBE-47AE-4790-84A5-8A6A01FC8158}"/>
          </ac:spMkLst>
        </pc:spChg>
        <pc:spChg chg="add del mod ord">
          <ac:chgData name="Bronwen Coleman (BOCM)" userId="3a29cb31-d177-4dcb-9581-286e8c6c26fc" providerId="ADAL" clId="{F377AD22-33C3-4DF4-A1E6-B127B531C26C}" dt="2021-07-12T19:33:30.498" v="301" actId="478"/>
          <ac:spMkLst>
            <pc:docMk/>
            <pc:sldMk cId="2670069345" sldId="280"/>
            <ac:spMk id="9" creationId="{BB3E93F9-51DB-42C2-B65C-CF4E67EAE12D}"/>
          </ac:spMkLst>
        </pc:spChg>
      </pc:sldChg>
      <pc:sldChg chg="addSp delSp modSp add mod modClrScheme chgLayout">
        <pc:chgData name="Bronwen Coleman (BOCM)" userId="3a29cb31-d177-4dcb-9581-286e8c6c26fc" providerId="ADAL" clId="{F377AD22-33C3-4DF4-A1E6-B127B531C26C}" dt="2021-07-13T07:38:47.686" v="738" actId="1076"/>
        <pc:sldMkLst>
          <pc:docMk/>
          <pc:sldMk cId="297343375" sldId="281"/>
        </pc:sldMkLst>
        <pc:spChg chg="mod ord">
          <ac:chgData name="Bronwen Coleman (BOCM)" userId="3a29cb31-d177-4dcb-9581-286e8c6c26fc" providerId="ADAL" clId="{F377AD22-33C3-4DF4-A1E6-B127B531C26C}" dt="2021-07-13T07:37:47.453" v="711" actId="1076"/>
          <ac:spMkLst>
            <pc:docMk/>
            <pc:sldMk cId="297343375" sldId="281"/>
            <ac:spMk id="2" creationId="{001C16CF-8A93-42E9-AC07-53812C15CC4E}"/>
          </ac:spMkLst>
        </pc:spChg>
        <pc:spChg chg="mod ord">
          <ac:chgData name="Bronwen Coleman (BOCM)" userId="3a29cb31-d177-4dcb-9581-286e8c6c26fc" providerId="ADAL" clId="{F377AD22-33C3-4DF4-A1E6-B127B531C26C}" dt="2021-07-13T07:37:56.566" v="712" actId="1076"/>
          <ac:spMkLst>
            <pc:docMk/>
            <pc:sldMk cId="297343375" sldId="281"/>
            <ac:spMk id="3" creationId="{2118C215-C2F2-4AB3-AE47-A2172E368BD4}"/>
          </ac:spMkLst>
        </pc:spChg>
        <pc:spChg chg="mod">
          <ac:chgData name="Bronwen Coleman (BOCM)" userId="3a29cb31-d177-4dcb-9581-286e8c6c26fc" providerId="ADAL" clId="{F377AD22-33C3-4DF4-A1E6-B127B531C26C}" dt="2021-07-13T07:38:01.479" v="713" actId="1076"/>
          <ac:spMkLst>
            <pc:docMk/>
            <pc:sldMk cId="297343375" sldId="281"/>
            <ac:spMk id="4" creationId="{D779C387-DDC2-4E62-83CE-A3D2D859FB31}"/>
          </ac:spMkLst>
        </pc:spChg>
        <pc:spChg chg="mod">
          <ac:chgData name="Bronwen Coleman (BOCM)" userId="3a29cb31-d177-4dcb-9581-286e8c6c26fc" providerId="ADAL" clId="{F377AD22-33C3-4DF4-A1E6-B127B531C26C}" dt="2021-07-13T07:38:38.030" v="737" actId="1076"/>
          <ac:spMkLst>
            <pc:docMk/>
            <pc:sldMk cId="297343375" sldId="281"/>
            <ac:spMk id="5" creationId="{568B4186-30FA-4251-871B-CCF281329107}"/>
          </ac:spMkLst>
        </pc:spChg>
        <pc:spChg chg="add del mod ord">
          <ac:chgData name="Bronwen Coleman (BOCM)" userId="3a29cb31-d177-4dcb-9581-286e8c6c26fc" providerId="ADAL" clId="{F377AD22-33C3-4DF4-A1E6-B127B531C26C}" dt="2021-07-12T19:33:53.878" v="305" actId="478"/>
          <ac:spMkLst>
            <pc:docMk/>
            <pc:sldMk cId="297343375" sldId="281"/>
            <ac:spMk id="6" creationId="{7312E5C4-A79F-4E92-9565-13D96A6957A8}"/>
          </ac:spMkLst>
        </pc:spChg>
        <pc:spChg chg="add mod">
          <ac:chgData name="Bronwen Coleman (BOCM)" userId="3a29cb31-d177-4dcb-9581-286e8c6c26fc" providerId="ADAL" clId="{F377AD22-33C3-4DF4-A1E6-B127B531C26C}" dt="2021-07-13T07:38:47.686" v="738" actId="1076"/>
          <ac:spMkLst>
            <pc:docMk/>
            <pc:sldMk cId="297343375" sldId="281"/>
            <ac:spMk id="7" creationId="{999E30B5-21D4-4A20-9A6F-66267E98A492}"/>
          </ac:spMkLst>
        </pc:spChg>
      </pc:sldChg>
      <pc:sldChg chg="add del">
        <pc:chgData name="Bronwen Coleman (BOCM)" userId="3a29cb31-d177-4dcb-9581-286e8c6c26fc" providerId="ADAL" clId="{F377AD22-33C3-4DF4-A1E6-B127B531C26C}" dt="2021-07-12T19:24:47.863" v="132" actId="2696"/>
        <pc:sldMkLst>
          <pc:docMk/>
          <pc:sldMk cId="3027143596" sldId="282"/>
        </pc:sldMkLst>
      </pc:sldChg>
      <pc:sldMasterChg chg="del delSldLayout">
        <pc:chgData name="Bronwen Coleman (BOCM)" userId="3a29cb31-d177-4dcb-9581-286e8c6c26fc" providerId="ADAL" clId="{F377AD22-33C3-4DF4-A1E6-B127B531C26C}" dt="2021-07-12T19:28:53.004" v="146" actId="700"/>
        <pc:sldMasterMkLst>
          <pc:docMk/>
          <pc:sldMasterMk cId="3201846468" sldId="2147483648"/>
        </pc:sldMasterMkLst>
        <pc:sldLayoutChg chg="del">
          <pc:chgData name="Bronwen Coleman (BOCM)" userId="3a29cb31-d177-4dcb-9581-286e8c6c26fc" providerId="ADAL" clId="{F377AD22-33C3-4DF4-A1E6-B127B531C26C}" dt="2021-07-12T19:28:53.004" v="146" actId="700"/>
          <pc:sldLayoutMkLst>
            <pc:docMk/>
            <pc:sldMasterMk cId="3201846468" sldId="2147483648"/>
            <pc:sldLayoutMk cId="1381853118" sldId="2147483649"/>
          </pc:sldLayoutMkLst>
        </pc:sldLayoutChg>
        <pc:sldLayoutChg chg="del">
          <pc:chgData name="Bronwen Coleman (BOCM)" userId="3a29cb31-d177-4dcb-9581-286e8c6c26fc" providerId="ADAL" clId="{F377AD22-33C3-4DF4-A1E6-B127B531C26C}" dt="2021-07-12T19:28:53.004" v="146" actId="700"/>
          <pc:sldLayoutMkLst>
            <pc:docMk/>
            <pc:sldMasterMk cId="3201846468" sldId="2147483648"/>
            <pc:sldLayoutMk cId="2331688854" sldId="2147483650"/>
          </pc:sldLayoutMkLst>
        </pc:sldLayoutChg>
        <pc:sldLayoutChg chg="del">
          <pc:chgData name="Bronwen Coleman (BOCM)" userId="3a29cb31-d177-4dcb-9581-286e8c6c26fc" providerId="ADAL" clId="{F377AD22-33C3-4DF4-A1E6-B127B531C26C}" dt="2021-07-12T19:28:53.004" v="146" actId="700"/>
          <pc:sldLayoutMkLst>
            <pc:docMk/>
            <pc:sldMasterMk cId="3201846468" sldId="2147483648"/>
            <pc:sldLayoutMk cId="2463655755" sldId="2147483651"/>
          </pc:sldLayoutMkLst>
        </pc:sldLayoutChg>
        <pc:sldLayoutChg chg="del">
          <pc:chgData name="Bronwen Coleman (BOCM)" userId="3a29cb31-d177-4dcb-9581-286e8c6c26fc" providerId="ADAL" clId="{F377AD22-33C3-4DF4-A1E6-B127B531C26C}" dt="2021-07-12T19:28:53.004" v="146" actId="700"/>
          <pc:sldLayoutMkLst>
            <pc:docMk/>
            <pc:sldMasterMk cId="3201846468" sldId="2147483648"/>
            <pc:sldLayoutMk cId="1873070274" sldId="2147483652"/>
          </pc:sldLayoutMkLst>
        </pc:sldLayoutChg>
        <pc:sldLayoutChg chg="del">
          <pc:chgData name="Bronwen Coleman (BOCM)" userId="3a29cb31-d177-4dcb-9581-286e8c6c26fc" providerId="ADAL" clId="{F377AD22-33C3-4DF4-A1E6-B127B531C26C}" dt="2021-07-12T19:28:53.004" v="146" actId="700"/>
          <pc:sldLayoutMkLst>
            <pc:docMk/>
            <pc:sldMasterMk cId="3201846468" sldId="2147483648"/>
            <pc:sldLayoutMk cId="1390378578" sldId="2147483653"/>
          </pc:sldLayoutMkLst>
        </pc:sldLayoutChg>
        <pc:sldLayoutChg chg="del">
          <pc:chgData name="Bronwen Coleman (BOCM)" userId="3a29cb31-d177-4dcb-9581-286e8c6c26fc" providerId="ADAL" clId="{F377AD22-33C3-4DF4-A1E6-B127B531C26C}" dt="2021-07-12T19:28:53.004" v="146" actId="700"/>
          <pc:sldLayoutMkLst>
            <pc:docMk/>
            <pc:sldMasterMk cId="3201846468" sldId="2147483648"/>
            <pc:sldLayoutMk cId="2718082341" sldId="2147483654"/>
          </pc:sldLayoutMkLst>
        </pc:sldLayoutChg>
        <pc:sldLayoutChg chg="del">
          <pc:chgData name="Bronwen Coleman (BOCM)" userId="3a29cb31-d177-4dcb-9581-286e8c6c26fc" providerId="ADAL" clId="{F377AD22-33C3-4DF4-A1E6-B127B531C26C}" dt="2021-07-12T19:28:53.004" v="146" actId="700"/>
          <pc:sldLayoutMkLst>
            <pc:docMk/>
            <pc:sldMasterMk cId="3201846468" sldId="2147483648"/>
            <pc:sldLayoutMk cId="2755128107" sldId="2147483655"/>
          </pc:sldLayoutMkLst>
        </pc:sldLayoutChg>
        <pc:sldLayoutChg chg="del">
          <pc:chgData name="Bronwen Coleman (BOCM)" userId="3a29cb31-d177-4dcb-9581-286e8c6c26fc" providerId="ADAL" clId="{F377AD22-33C3-4DF4-A1E6-B127B531C26C}" dt="2021-07-12T19:28:53.004" v="146" actId="700"/>
          <pc:sldLayoutMkLst>
            <pc:docMk/>
            <pc:sldMasterMk cId="3201846468" sldId="2147483648"/>
            <pc:sldLayoutMk cId="2923469437" sldId="2147483656"/>
          </pc:sldLayoutMkLst>
        </pc:sldLayoutChg>
        <pc:sldLayoutChg chg="del">
          <pc:chgData name="Bronwen Coleman (BOCM)" userId="3a29cb31-d177-4dcb-9581-286e8c6c26fc" providerId="ADAL" clId="{F377AD22-33C3-4DF4-A1E6-B127B531C26C}" dt="2021-07-12T19:28:53.004" v="146" actId="700"/>
          <pc:sldLayoutMkLst>
            <pc:docMk/>
            <pc:sldMasterMk cId="3201846468" sldId="2147483648"/>
            <pc:sldLayoutMk cId="1919886949" sldId="2147483657"/>
          </pc:sldLayoutMkLst>
        </pc:sldLayoutChg>
        <pc:sldLayoutChg chg="del">
          <pc:chgData name="Bronwen Coleman (BOCM)" userId="3a29cb31-d177-4dcb-9581-286e8c6c26fc" providerId="ADAL" clId="{F377AD22-33C3-4DF4-A1E6-B127B531C26C}" dt="2021-07-12T19:28:53.004" v="146" actId="700"/>
          <pc:sldLayoutMkLst>
            <pc:docMk/>
            <pc:sldMasterMk cId="3201846468" sldId="2147483648"/>
            <pc:sldLayoutMk cId="282876246" sldId="2147483658"/>
          </pc:sldLayoutMkLst>
        </pc:sldLayoutChg>
        <pc:sldLayoutChg chg="del">
          <pc:chgData name="Bronwen Coleman (BOCM)" userId="3a29cb31-d177-4dcb-9581-286e8c6c26fc" providerId="ADAL" clId="{F377AD22-33C3-4DF4-A1E6-B127B531C26C}" dt="2021-07-12T19:28:53.004" v="146" actId="700"/>
          <pc:sldLayoutMkLst>
            <pc:docMk/>
            <pc:sldMasterMk cId="3201846468" sldId="2147483648"/>
            <pc:sldLayoutMk cId="1189428438" sldId="2147483659"/>
          </pc:sldLayoutMkLst>
        </pc:sldLayoutChg>
        <pc:sldLayoutChg chg="del">
          <pc:chgData name="Bronwen Coleman (BOCM)" userId="3a29cb31-d177-4dcb-9581-286e8c6c26fc" providerId="ADAL" clId="{F377AD22-33C3-4DF4-A1E6-B127B531C26C}" dt="2021-07-12T19:28:53.004" v="146" actId="700"/>
          <pc:sldLayoutMkLst>
            <pc:docMk/>
            <pc:sldMasterMk cId="3201846468" sldId="2147483648"/>
            <pc:sldLayoutMk cId="927258872" sldId="2147483660"/>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304D0A-7CEC-4219-B537-D9F07AAC236C}" type="datetimeFigureOut">
              <a:rPr lang="en-ZA" smtClean="0"/>
              <a:pPr/>
              <a:t>2021/07/28</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58DDB4-685D-4AD2-94CE-2634B4D22B6F}" type="slidenum">
              <a:rPr lang="en-ZA" smtClean="0"/>
              <a:pPr/>
              <a:t>‹#›</a:t>
            </a:fld>
            <a:endParaRPr lang="en-ZA"/>
          </a:p>
        </p:txBody>
      </p:sp>
    </p:spTree>
    <p:extLst>
      <p:ext uri="{BB962C8B-B14F-4D97-AF65-F5344CB8AC3E}">
        <p14:creationId xmlns:p14="http://schemas.microsoft.com/office/powerpoint/2010/main" xmlns="" val="25490826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Query SA stats</a:t>
            </a:r>
          </a:p>
        </p:txBody>
      </p:sp>
      <p:sp>
        <p:nvSpPr>
          <p:cNvPr id="4" name="Slide Number Placeholder 3"/>
          <p:cNvSpPr>
            <a:spLocks noGrp="1"/>
          </p:cNvSpPr>
          <p:nvPr>
            <p:ph type="sldNum" sz="quarter" idx="5"/>
          </p:nvPr>
        </p:nvSpPr>
        <p:spPr/>
        <p:txBody>
          <a:bodyPr/>
          <a:lstStyle/>
          <a:p>
            <a:fld id="{2B1996CE-392D-4C99-BB95-794A255B2D68}" type="slidenum">
              <a:rPr lang="en-ZA" smtClean="0"/>
              <a:pPr/>
              <a:t>5</a:t>
            </a:fld>
            <a:endParaRPr lang="en-ZA"/>
          </a:p>
        </p:txBody>
      </p:sp>
    </p:spTree>
    <p:extLst>
      <p:ext uri="{BB962C8B-B14F-4D97-AF65-F5344CB8AC3E}">
        <p14:creationId xmlns:p14="http://schemas.microsoft.com/office/powerpoint/2010/main" xmlns="" val="3950603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2B1996CE-392D-4C99-BB95-794A255B2D68}" type="slidenum">
              <a:rPr lang="en-ZA" smtClean="0"/>
              <a:pPr/>
              <a:t>6</a:t>
            </a:fld>
            <a:endParaRPr lang="en-ZA"/>
          </a:p>
        </p:txBody>
      </p:sp>
    </p:spTree>
    <p:extLst>
      <p:ext uri="{BB962C8B-B14F-4D97-AF65-F5344CB8AC3E}">
        <p14:creationId xmlns:p14="http://schemas.microsoft.com/office/powerpoint/2010/main" xmlns="" val="38180571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jpe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bg>
      <p:bgPr>
        <a:solidFill>
          <a:srgbClr val="FFFFFF"/>
        </a:solidFill>
        <a:effectLst/>
      </p:bgPr>
    </p:bg>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1D7EFF57-58CA-4A70-917A-6869C3B6770B}"/>
              </a:ext>
            </a:extLst>
          </p:cNvPr>
          <p:cNvGraphicFramePr>
            <a:graphicFrameLocks noChangeAspect="1"/>
          </p:cNvGraphicFramePr>
          <p:nvPr userDrawn="1">
            <p:extLst>
              <p:ext uri="{D42A27DB-BD31-4B8C-83A1-F6EECF244321}">
                <p14:modId xmlns:p14="http://schemas.microsoft.com/office/powerpoint/2010/main" xmlns="" val="3412612393"/>
              </p:ext>
            </p:extLst>
          </p:nvPr>
        </p:nvGraphicFramePr>
        <p:xfrm>
          <a:off x="1588" y="1588"/>
          <a:ext cx="1588" cy="1588"/>
        </p:xfrm>
        <a:graphic>
          <a:graphicData uri="http://schemas.openxmlformats.org/presentationml/2006/ole">
            <p:oleObj spid="_x0000_s2050" name="think-cell Slide" r:id="rId4" imgW="360" imgH="360" progId="">
              <p:embed/>
            </p:oleObj>
          </a:graphicData>
        </a:graphic>
      </p:graphicFrame>
      <p:sp>
        <p:nvSpPr>
          <p:cNvPr id="17" name="Rectangle 16" hidden="1">
            <a:extLst>
              <a:ext uri="{FF2B5EF4-FFF2-40B4-BE49-F238E27FC236}">
                <a16:creationId xmlns:a16="http://schemas.microsoft.com/office/drawing/2014/main" xmlns="" id="{43259740-0B5E-42DB-A9CD-C49160F201E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4000" b="1" i="0" baseline="0" dirty="0">
              <a:latin typeface="Arial (Body)"/>
              <a:ea typeface="+mj-ea"/>
              <a:cs typeface="+mj-cs"/>
              <a:sym typeface="Arial (Body)"/>
            </a:endParaRPr>
          </a:p>
        </p:txBody>
      </p:sp>
      <p:pic>
        <p:nvPicPr>
          <p:cNvPr id="5" name="Picture 4" descr="A picture containing text, laptop, computer&#10;&#10;Description automatically generated">
            <a:extLst>
              <a:ext uri="{FF2B5EF4-FFF2-40B4-BE49-F238E27FC236}">
                <a16:creationId xmlns:a16="http://schemas.microsoft.com/office/drawing/2014/main" xmlns="" id="{3DFC4A56-C39E-4A1F-B3F7-FB12F1D84A40}"/>
              </a:ext>
            </a:extLst>
          </p:cNvPr>
          <p:cNvPicPr>
            <a:picLocks noChangeAspect="1"/>
          </p:cNvPicPr>
          <p:nvPr userDrawn="1"/>
        </p:nvPicPr>
        <p:blipFill rotWithShape="1">
          <a:blip r:embed="rId5"/>
          <a:srcRect b="15204"/>
          <a:stretch/>
        </p:blipFill>
        <p:spPr>
          <a:xfrm>
            <a:off x="-1" y="-21269"/>
            <a:ext cx="12192001" cy="6879269"/>
          </a:xfrm>
          <a:prstGeom prst="rect">
            <a:avLst/>
          </a:prstGeom>
        </p:spPr>
      </p:pic>
      <p:sp>
        <p:nvSpPr>
          <p:cNvPr id="6" name="Pladsholder til slidenummer 5"/>
          <p:cNvSpPr>
            <a:spLocks noGrp="1"/>
          </p:cNvSpPr>
          <p:nvPr>
            <p:ph type="sldNum" sz="quarter" idx="12"/>
          </p:nvPr>
        </p:nvSpPr>
        <p:spPr>
          <a:xfrm>
            <a:off x="11537357" y="6428806"/>
            <a:ext cx="176000" cy="153888"/>
          </a:xfrm>
          <a:prstGeom prst="rect">
            <a:avLst/>
          </a:prstGeom>
        </p:spPr>
        <p:txBody>
          <a:bodyPr>
            <a:noAutofit/>
          </a:bodyPr>
          <a:lstStyle>
            <a:lvl1pPr>
              <a:defRPr sz="1000">
                <a:solidFill>
                  <a:srgbClr val="FFFFFF"/>
                </a:solidFill>
              </a:defRPr>
            </a:lvl1pPr>
          </a:lstStyle>
          <a:p>
            <a:fld id="{17CCCC7F-9621-A743-A701-E063ABC03BA8}" type="slidenum">
              <a:rPr lang="en-US" smtClean="0"/>
              <a:pPr/>
              <a:t>‹#›</a:t>
            </a:fld>
            <a:endParaRPr lang="en-US" dirty="0"/>
          </a:p>
        </p:txBody>
      </p:sp>
      <p:grpSp>
        <p:nvGrpSpPr>
          <p:cNvPr id="7" name="Group 6">
            <a:extLst>
              <a:ext uri="{FF2B5EF4-FFF2-40B4-BE49-F238E27FC236}">
                <a16:creationId xmlns:a16="http://schemas.microsoft.com/office/drawing/2014/main" xmlns="" id="{39A1F706-D2B0-4FAC-B71E-10D27EBDBC5A}"/>
              </a:ext>
            </a:extLst>
          </p:cNvPr>
          <p:cNvGrpSpPr/>
          <p:nvPr userDrawn="1"/>
        </p:nvGrpSpPr>
        <p:grpSpPr>
          <a:xfrm>
            <a:off x="-1" y="-1"/>
            <a:ext cx="10343109" cy="6428807"/>
            <a:chOff x="-1" y="-1"/>
            <a:chExt cx="10343109" cy="6428807"/>
          </a:xfrm>
        </p:grpSpPr>
        <p:sp>
          <p:nvSpPr>
            <p:cNvPr id="31" name="Freeform: Shape 30">
              <a:extLst>
                <a:ext uri="{FF2B5EF4-FFF2-40B4-BE49-F238E27FC236}">
                  <a16:creationId xmlns:a16="http://schemas.microsoft.com/office/drawing/2014/main" xmlns="" id="{766B24A3-1B71-4CCE-BAF4-043438E81259}"/>
                </a:ext>
              </a:extLst>
            </p:cNvPr>
            <p:cNvSpPr/>
            <p:nvPr userDrawn="1"/>
          </p:nvSpPr>
          <p:spPr>
            <a:xfrm>
              <a:off x="-1" y="-1"/>
              <a:ext cx="10343109" cy="5852440"/>
            </a:xfrm>
            <a:custGeom>
              <a:avLst/>
              <a:gdLst>
                <a:gd name="connsiteX0" fmla="*/ 0 w 10343109"/>
                <a:gd name="connsiteY0" fmla="*/ 0 h 5852440"/>
                <a:gd name="connsiteX1" fmla="*/ 10343109 w 10343109"/>
                <a:gd name="connsiteY1" fmla="*/ 0 h 5852440"/>
                <a:gd name="connsiteX2" fmla="*/ 10337610 w 10343109"/>
                <a:gd name="connsiteY2" fmla="*/ 217494 h 5852440"/>
                <a:gd name="connsiteX3" fmla="*/ 4710391 w 10343109"/>
                <a:gd name="connsiteY3" fmla="*/ 5844711 h 5852440"/>
                <a:gd name="connsiteX4" fmla="*/ 4404720 w 10343109"/>
                <a:gd name="connsiteY4" fmla="*/ 5852440 h 5852440"/>
                <a:gd name="connsiteX5" fmla="*/ 4404650 w 10343109"/>
                <a:gd name="connsiteY5" fmla="*/ 5852440 h 5852440"/>
                <a:gd name="connsiteX6" fmla="*/ 4098980 w 10343109"/>
                <a:gd name="connsiteY6" fmla="*/ 5844711 h 5852440"/>
                <a:gd name="connsiteX7" fmla="*/ 7305 w 10343109"/>
                <a:gd name="connsiteY7" fmla="*/ 3906149 h 5852440"/>
                <a:gd name="connsiteX8" fmla="*/ 0 w 10343109"/>
                <a:gd name="connsiteY8" fmla="*/ 3897717 h 585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43109" h="5852440">
                  <a:moveTo>
                    <a:pt x="0" y="0"/>
                  </a:moveTo>
                  <a:lnTo>
                    <a:pt x="10343109" y="0"/>
                  </a:lnTo>
                  <a:lnTo>
                    <a:pt x="10337610" y="217494"/>
                  </a:lnTo>
                  <a:cubicBezTo>
                    <a:pt x="10183633" y="3255103"/>
                    <a:pt x="7748000" y="5690735"/>
                    <a:pt x="4710391" y="5844711"/>
                  </a:cubicBezTo>
                  <a:lnTo>
                    <a:pt x="4404720" y="5852440"/>
                  </a:lnTo>
                  <a:lnTo>
                    <a:pt x="4404650" y="5852440"/>
                  </a:lnTo>
                  <a:lnTo>
                    <a:pt x="4098980" y="5844711"/>
                  </a:lnTo>
                  <a:cubicBezTo>
                    <a:pt x="2478922" y="5762590"/>
                    <a:pt x="1030092" y="5031465"/>
                    <a:pt x="7305" y="3906149"/>
                  </a:cubicBezTo>
                  <a:lnTo>
                    <a:pt x="0" y="3897717"/>
                  </a:lnTo>
                  <a:close/>
                </a:path>
              </a:pathLst>
            </a:cu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33" name="Freeform: Shape 32">
              <a:extLst>
                <a:ext uri="{FF2B5EF4-FFF2-40B4-BE49-F238E27FC236}">
                  <a16:creationId xmlns:a16="http://schemas.microsoft.com/office/drawing/2014/main" xmlns="" id="{A013E5B6-F1AD-4ACE-8E64-28CAE0A71C82}"/>
                </a:ext>
              </a:extLst>
            </p:cNvPr>
            <p:cNvSpPr/>
            <p:nvPr userDrawn="1"/>
          </p:nvSpPr>
          <p:spPr>
            <a:xfrm>
              <a:off x="0" y="0"/>
              <a:ext cx="9208213" cy="6428806"/>
            </a:xfrm>
            <a:custGeom>
              <a:avLst/>
              <a:gdLst>
                <a:gd name="connsiteX0" fmla="*/ 0 w 9208213"/>
                <a:gd name="connsiteY0" fmla="*/ 0 h 6428806"/>
                <a:gd name="connsiteX1" fmla="*/ 9184505 w 9208213"/>
                <a:gd name="connsiteY1" fmla="*/ 0 h 6428806"/>
                <a:gd name="connsiteX2" fmla="*/ 9200422 w 9208213"/>
                <a:gd name="connsiteY2" fmla="*/ 209318 h 6428806"/>
                <a:gd name="connsiteX3" fmla="*/ 9208213 w 9208213"/>
                <a:gd name="connsiteY3" fmla="*/ 517439 h 6428806"/>
                <a:gd name="connsiteX4" fmla="*/ 9208213 w 9208213"/>
                <a:gd name="connsiteY4" fmla="*/ 517509 h 6428806"/>
                <a:gd name="connsiteX5" fmla="*/ 9200422 w 9208213"/>
                <a:gd name="connsiteY5" fmla="*/ 825630 h 6428806"/>
                <a:gd name="connsiteX6" fmla="*/ 4426782 w 9208213"/>
                <a:gd name="connsiteY6" fmla="*/ 6384091 h 6428806"/>
                <a:gd name="connsiteX7" fmla="*/ 4176388 w 9208213"/>
                <a:gd name="connsiteY7" fmla="*/ 6428806 h 6428806"/>
                <a:gd name="connsiteX8" fmla="*/ 2263480 w 9208213"/>
                <a:gd name="connsiteY8" fmla="*/ 6428806 h 6428806"/>
                <a:gd name="connsiteX9" fmla="*/ 2013087 w 9208213"/>
                <a:gd name="connsiteY9" fmla="*/ 6384091 h 6428806"/>
                <a:gd name="connsiteX10" fmla="*/ 114793 w 9208213"/>
                <a:gd name="connsiteY10" fmla="*/ 5638808 h 6428806"/>
                <a:gd name="connsiteX11" fmla="*/ 0 w 9208213"/>
                <a:gd name="connsiteY11" fmla="*/ 5565216 h 642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08213" h="6428806">
                  <a:moveTo>
                    <a:pt x="0" y="0"/>
                  </a:moveTo>
                  <a:lnTo>
                    <a:pt x="9184505" y="0"/>
                  </a:lnTo>
                  <a:lnTo>
                    <a:pt x="9200422" y="209318"/>
                  </a:lnTo>
                  <a:lnTo>
                    <a:pt x="9208213" y="517439"/>
                  </a:lnTo>
                  <a:lnTo>
                    <a:pt x="9208213" y="517509"/>
                  </a:lnTo>
                  <a:lnTo>
                    <a:pt x="9200422" y="825630"/>
                  </a:lnTo>
                  <a:cubicBezTo>
                    <a:pt x="9060732" y="3581394"/>
                    <a:pt x="7058084" y="5845649"/>
                    <a:pt x="4426782" y="6384091"/>
                  </a:cubicBezTo>
                  <a:lnTo>
                    <a:pt x="4176388" y="6428806"/>
                  </a:lnTo>
                  <a:lnTo>
                    <a:pt x="2263480" y="6428806"/>
                  </a:lnTo>
                  <a:lnTo>
                    <a:pt x="2013087" y="6384091"/>
                  </a:lnTo>
                  <a:cubicBezTo>
                    <a:pt x="1330897" y="6244495"/>
                    <a:pt x="690963" y="5988897"/>
                    <a:pt x="114793" y="5638808"/>
                  </a:cubicBezTo>
                  <a:lnTo>
                    <a:pt x="0" y="5565216"/>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29" name="Freeform: Shape 28">
              <a:extLst>
                <a:ext uri="{FF2B5EF4-FFF2-40B4-BE49-F238E27FC236}">
                  <a16:creationId xmlns:a16="http://schemas.microsoft.com/office/drawing/2014/main" xmlns="" id="{62D972A2-C5D7-440C-A912-5ED08A73B61C}"/>
                </a:ext>
              </a:extLst>
            </p:cNvPr>
            <p:cNvSpPr/>
            <p:nvPr userDrawn="1"/>
          </p:nvSpPr>
          <p:spPr>
            <a:xfrm>
              <a:off x="0" y="0"/>
              <a:ext cx="8613132" cy="5500188"/>
            </a:xfrm>
            <a:custGeom>
              <a:avLst/>
              <a:gdLst>
                <a:gd name="connsiteX0" fmla="*/ 0 w 8613132"/>
                <a:gd name="connsiteY0" fmla="*/ 0 h 5500188"/>
                <a:gd name="connsiteX1" fmla="*/ 8613132 w 8613132"/>
                <a:gd name="connsiteY1" fmla="*/ 0 h 5500188"/>
                <a:gd name="connsiteX2" fmla="*/ 8612315 w 8613132"/>
                <a:gd name="connsiteY2" fmla="*/ 32304 h 5500188"/>
                <a:gd name="connsiteX3" fmla="*/ 3151928 w 8613132"/>
                <a:gd name="connsiteY3" fmla="*/ 5492688 h 5500188"/>
                <a:gd name="connsiteX4" fmla="*/ 2855327 w 8613132"/>
                <a:gd name="connsiteY4" fmla="*/ 5500188 h 5500188"/>
                <a:gd name="connsiteX5" fmla="*/ 2855245 w 8613132"/>
                <a:gd name="connsiteY5" fmla="*/ 5500188 h 5500188"/>
                <a:gd name="connsiteX6" fmla="*/ 2558644 w 8613132"/>
                <a:gd name="connsiteY6" fmla="*/ 5492688 h 5500188"/>
                <a:gd name="connsiteX7" fmla="*/ 107569 w 8613132"/>
                <a:gd name="connsiteY7" fmla="*/ 4804442 h 5500188"/>
                <a:gd name="connsiteX8" fmla="*/ 0 w 8613132"/>
                <a:gd name="connsiteY8" fmla="*/ 4742591 h 550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13132" h="5500188">
                  <a:moveTo>
                    <a:pt x="0" y="0"/>
                  </a:moveTo>
                  <a:lnTo>
                    <a:pt x="8613132" y="0"/>
                  </a:lnTo>
                  <a:lnTo>
                    <a:pt x="8612315" y="32304"/>
                  </a:lnTo>
                  <a:cubicBezTo>
                    <a:pt x="8462903" y="2979854"/>
                    <a:pt x="6099480" y="5343277"/>
                    <a:pt x="3151928" y="5492688"/>
                  </a:cubicBezTo>
                  <a:lnTo>
                    <a:pt x="2855327" y="5500188"/>
                  </a:lnTo>
                  <a:lnTo>
                    <a:pt x="2855245" y="5500188"/>
                  </a:lnTo>
                  <a:lnTo>
                    <a:pt x="2558644" y="5492688"/>
                  </a:lnTo>
                  <a:cubicBezTo>
                    <a:pt x="1674378" y="5447865"/>
                    <a:pt x="842684" y="5203781"/>
                    <a:pt x="107569" y="4804442"/>
                  </a:cubicBezTo>
                  <a:lnTo>
                    <a:pt x="0" y="4742591"/>
                  </a:lnTo>
                  <a:close/>
                </a:path>
              </a:pathLst>
            </a:cu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
        <p:nvSpPr>
          <p:cNvPr id="2" name="Titel 1"/>
          <p:cNvSpPr>
            <a:spLocks noGrp="1"/>
          </p:cNvSpPr>
          <p:nvPr>
            <p:ph type="ctrTitle" hasCustomPrompt="1"/>
          </p:nvPr>
        </p:nvSpPr>
        <p:spPr>
          <a:xfrm>
            <a:off x="758400" y="2336058"/>
            <a:ext cx="9033300" cy="553998"/>
          </a:xfrm>
        </p:spPr>
        <p:txBody>
          <a:bodyPr wrap="square" anchor="t" anchorCtr="0">
            <a:spAutoFit/>
          </a:bodyPr>
          <a:lstStyle>
            <a:lvl1pPr algn="l">
              <a:defRPr sz="4000" b="1">
                <a:solidFill>
                  <a:srgbClr val="FFFFFF"/>
                </a:solidFill>
                <a:latin typeface="+mn-lt"/>
              </a:defRPr>
            </a:lvl1pPr>
          </a:lstStyle>
          <a:p>
            <a:r>
              <a:rPr lang="en-GB" noProof="0"/>
              <a:t>Click to Add Title</a:t>
            </a:r>
          </a:p>
        </p:txBody>
      </p:sp>
      <p:sp>
        <p:nvSpPr>
          <p:cNvPr id="3" name="Undertitel 2"/>
          <p:cNvSpPr>
            <a:spLocks noGrp="1"/>
          </p:cNvSpPr>
          <p:nvPr>
            <p:ph type="subTitle" idx="1" hasCustomPrompt="1"/>
          </p:nvPr>
        </p:nvSpPr>
        <p:spPr>
          <a:xfrm>
            <a:off x="758400" y="3622645"/>
            <a:ext cx="8309400" cy="304699"/>
          </a:xfrm>
        </p:spPr>
        <p:txBody>
          <a:bodyPr wrap="square" lIns="0" tIns="0" rIns="0" bIns="0">
            <a:spAutoFit/>
          </a:bodyPr>
          <a:lstStyle>
            <a:lvl1pPr marL="0" indent="0" algn="l">
              <a:buNone/>
              <a:defRPr sz="2200" baseline="0">
                <a:solidFill>
                  <a:srgbClr val="FFFFFF"/>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add text</a:t>
            </a:r>
          </a:p>
        </p:txBody>
      </p:sp>
      <p:grpSp>
        <p:nvGrpSpPr>
          <p:cNvPr id="16" name="Group 15">
            <a:extLst>
              <a:ext uri="{FF2B5EF4-FFF2-40B4-BE49-F238E27FC236}">
                <a16:creationId xmlns:a16="http://schemas.microsoft.com/office/drawing/2014/main" xmlns="" id="{C1D5DE4B-0314-4A0C-84FE-5A0F76B8BC40}"/>
              </a:ext>
            </a:extLst>
          </p:cNvPr>
          <p:cNvGrpSpPr/>
          <p:nvPr userDrawn="1"/>
        </p:nvGrpSpPr>
        <p:grpSpPr>
          <a:xfrm>
            <a:off x="692151" y="652463"/>
            <a:ext cx="2371725" cy="487363"/>
            <a:chOff x="692151" y="652463"/>
            <a:chExt cx="2371725" cy="487363"/>
          </a:xfrm>
        </p:grpSpPr>
        <p:sp>
          <p:nvSpPr>
            <p:cNvPr id="9" name="Freeform 5">
              <a:extLst>
                <a:ext uri="{FF2B5EF4-FFF2-40B4-BE49-F238E27FC236}">
                  <a16:creationId xmlns:a16="http://schemas.microsoft.com/office/drawing/2014/main" xmlns="" id="{59D3E180-F294-4D8D-A49B-A244D4F43D7C}"/>
                </a:ext>
              </a:extLst>
            </p:cNvPr>
            <p:cNvSpPr>
              <a:spLocks/>
            </p:cNvSpPr>
            <p:nvPr userDrawn="1"/>
          </p:nvSpPr>
          <p:spPr bwMode="auto">
            <a:xfrm>
              <a:off x="2538414" y="795338"/>
              <a:ext cx="288925" cy="339725"/>
            </a:xfrm>
            <a:custGeom>
              <a:avLst/>
              <a:gdLst>
                <a:gd name="T0" fmla="*/ 276 w 276"/>
                <a:gd name="T1" fmla="*/ 116 h 325"/>
                <a:gd name="T2" fmla="*/ 276 w 276"/>
                <a:gd name="T3" fmla="*/ 164 h 325"/>
                <a:gd name="T4" fmla="*/ 276 w 276"/>
                <a:gd name="T5" fmla="*/ 262 h 325"/>
                <a:gd name="T6" fmla="*/ 276 w 276"/>
                <a:gd name="T7" fmla="*/ 325 h 325"/>
                <a:gd name="T8" fmla="*/ 220 w 276"/>
                <a:gd name="T9" fmla="*/ 325 h 325"/>
                <a:gd name="T10" fmla="*/ 220 w 276"/>
                <a:gd name="T11" fmla="*/ 135 h 325"/>
                <a:gd name="T12" fmla="*/ 200 w 276"/>
                <a:gd name="T13" fmla="*/ 76 h 325"/>
                <a:gd name="T14" fmla="*/ 146 w 276"/>
                <a:gd name="T15" fmla="*/ 53 h 325"/>
                <a:gd name="T16" fmla="*/ 56 w 276"/>
                <a:gd name="T17" fmla="*/ 53 h 325"/>
                <a:gd name="T18" fmla="*/ 56 w 276"/>
                <a:gd name="T19" fmla="*/ 325 h 325"/>
                <a:gd name="T20" fmla="*/ 0 w 276"/>
                <a:gd name="T21" fmla="*/ 325 h 325"/>
                <a:gd name="T22" fmla="*/ 0 w 276"/>
                <a:gd name="T23" fmla="*/ 0 h 325"/>
                <a:gd name="T24" fmla="*/ 158 w 276"/>
                <a:gd name="T25" fmla="*/ 0 h 325"/>
                <a:gd name="T26" fmla="*/ 257 w 276"/>
                <a:gd name="T27" fmla="*/ 55 h 325"/>
                <a:gd name="T28" fmla="*/ 276 w 276"/>
                <a:gd name="T29" fmla="*/ 11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 h="325">
                  <a:moveTo>
                    <a:pt x="276" y="116"/>
                  </a:moveTo>
                  <a:cubicBezTo>
                    <a:pt x="276" y="132"/>
                    <a:pt x="276" y="148"/>
                    <a:pt x="276" y="164"/>
                  </a:cubicBezTo>
                  <a:cubicBezTo>
                    <a:pt x="276" y="197"/>
                    <a:pt x="276" y="229"/>
                    <a:pt x="276" y="262"/>
                  </a:cubicBezTo>
                  <a:cubicBezTo>
                    <a:pt x="276" y="283"/>
                    <a:pt x="276" y="304"/>
                    <a:pt x="276" y="325"/>
                  </a:cubicBezTo>
                  <a:cubicBezTo>
                    <a:pt x="220" y="325"/>
                    <a:pt x="220" y="325"/>
                    <a:pt x="220" y="325"/>
                  </a:cubicBezTo>
                  <a:cubicBezTo>
                    <a:pt x="220" y="135"/>
                    <a:pt x="220" y="135"/>
                    <a:pt x="220" y="135"/>
                  </a:cubicBezTo>
                  <a:cubicBezTo>
                    <a:pt x="220" y="111"/>
                    <a:pt x="213" y="92"/>
                    <a:pt x="200" y="76"/>
                  </a:cubicBezTo>
                  <a:cubicBezTo>
                    <a:pt x="187" y="60"/>
                    <a:pt x="169" y="53"/>
                    <a:pt x="146" y="53"/>
                  </a:cubicBezTo>
                  <a:cubicBezTo>
                    <a:pt x="56" y="53"/>
                    <a:pt x="56" y="53"/>
                    <a:pt x="56" y="53"/>
                  </a:cubicBezTo>
                  <a:cubicBezTo>
                    <a:pt x="56" y="325"/>
                    <a:pt x="56" y="325"/>
                    <a:pt x="56" y="325"/>
                  </a:cubicBezTo>
                  <a:cubicBezTo>
                    <a:pt x="0" y="325"/>
                    <a:pt x="0" y="325"/>
                    <a:pt x="0" y="325"/>
                  </a:cubicBezTo>
                  <a:cubicBezTo>
                    <a:pt x="0" y="0"/>
                    <a:pt x="0" y="0"/>
                    <a:pt x="0" y="0"/>
                  </a:cubicBezTo>
                  <a:cubicBezTo>
                    <a:pt x="158" y="0"/>
                    <a:pt x="158" y="0"/>
                    <a:pt x="158" y="0"/>
                  </a:cubicBezTo>
                  <a:cubicBezTo>
                    <a:pt x="200" y="0"/>
                    <a:pt x="236" y="18"/>
                    <a:pt x="257" y="55"/>
                  </a:cubicBezTo>
                  <a:cubicBezTo>
                    <a:pt x="268" y="73"/>
                    <a:pt x="275" y="95"/>
                    <a:pt x="276"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6">
              <a:extLst>
                <a:ext uri="{FF2B5EF4-FFF2-40B4-BE49-F238E27FC236}">
                  <a16:creationId xmlns:a16="http://schemas.microsoft.com/office/drawing/2014/main" xmlns="" id="{13D18608-AF3E-49E3-9537-44E809FF9599}"/>
                </a:ext>
              </a:extLst>
            </p:cNvPr>
            <p:cNvSpPr>
              <a:spLocks/>
            </p:cNvSpPr>
            <p:nvPr userDrawn="1"/>
          </p:nvSpPr>
          <p:spPr bwMode="auto">
            <a:xfrm>
              <a:off x="2538414" y="795338"/>
              <a:ext cx="288925" cy="339725"/>
            </a:xfrm>
            <a:custGeom>
              <a:avLst/>
              <a:gdLst>
                <a:gd name="T0" fmla="*/ 276 w 276"/>
                <a:gd name="T1" fmla="*/ 116 h 325"/>
                <a:gd name="T2" fmla="*/ 276 w 276"/>
                <a:gd name="T3" fmla="*/ 164 h 325"/>
                <a:gd name="T4" fmla="*/ 276 w 276"/>
                <a:gd name="T5" fmla="*/ 262 h 325"/>
                <a:gd name="T6" fmla="*/ 276 w 276"/>
                <a:gd name="T7" fmla="*/ 325 h 325"/>
                <a:gd name="T8" fmla="*/ 220 w 276"/>
                <a:gd name="T9" fmla="*/ 325 h 325"/>
                <a:gd name="T10" fmla="*/ 220 w 276"/>
                <a:gd name="T11" fmla="*/ 135 h 325"/>
                <a:gd name="T12" fmla="*/ 200 w 276"/>
                <a:gd name="T13" fmla="*/ 76 h 325"/>
                <a:gd name="T14" fmla="*/ 146 w 276"/>
                <a:gd name="T15" fmla="*/ 53 h 325"/>
                <a:gd name="T16" fmla="*/ 56 w 276"/>
                <a:gd name="T17" fmla="*/ 53 h 325"/>
                <a:gd name="T18" fmla="*/ 56 w 276"/>
                <a:gd name="T19" fmla="*/ 325 h 325"/>
                <a:gd name="T20" fmla="*/ 0 w 276"/>
                <a:gd name="T21" fmla="*/ 325 h 325"/>
                <a:gd name="T22" fmla="*/ 0 w 276"/>
                <a:gd name="T23" fmla="*/ 0 h 325"/>
                <a:gd name="T24" fmla="*/ 158 w 276"/>
                <a:gd name="T25" fmla="*/ 0 h 325"/>
                <a:gd name="T26" fmla="*/ 257 w 276"/>
                <a:gd name="T27" fmla="*/ 55 h 325"/>
                <a:gd name="T28" fmla="*/ 276 w 276"/>
                <a:gd name="T29" fmla="*/ 11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 h="325">
                  <a:moveTo>
                    <a:pt x="276" y="116"/>
                  </a:moveTo>
                  <a:cubicBezTo>
                    <a:pt x="276" y="132"/>
                    <a:pt x="276" y="148"/>
                    <a:pt x="276" y="164"/>
                  </a:cubicBezTo>
                  <a:cubicBezTo>
                    <a:pt x="276" y="197"/>
                    <a:pt x="276" y="229"/>
                    <a:pt x="276" y="262"/>
                  </a:cubicBezTo>
                  <a:cubicBezTo>
                    <a:pt x="276" y="283"/>
                    <a:pt x="276" y="304"/>
                    <a:pt x="276" y="325"/>
                  </a:cubicBezTo>
                  <a:cubicBezTo>
                    <a:pt x="220" y="325"/>
                    <a:pt x="220" y="325"/>
                    <a:pt x="220" y="325"/>
                  </a:cubicBezTo>
                  <a:cubicBezTo>
                    <a:pt x="220" y="135"/>
                    <a:pt x="220" y="135"/>
                    <a:pt x="220" y="135"/>
                  </a:cubicBezTo>
                  <a:cubicBezTo>
                    <a:pt x="220" y="111"/>
                    <a:pt x="213" y="92"/>
                    <a:pt x="200" y="76"/>
                  </a:cubicBezTo>
                  <a:cubicBezTo>
                    <a:pt x="187" y="60"/>
                    <a:pt x="169" y="53"/>
                    <a:pt x="146" y="53"/>
                  </a:cubicBezTo>
                  <a:cubicBezTo>
                    <a:pt x="56" y="53"/>
                    <a:pt x="56" y="53"/>
                    <a:pt x="56" y="53"/>
                  </a:cubicBezTo>
                  <a:cubicBezTo>
                    <a:pt x="56" y="325"/>
                    <a:pt x="56" y="325"/>
                    <a:pt x="56" y="325"/>
                  </a:cubicBezTo>
                  <a:cubicBezTo>
                    <a:pt x="0" y="325"/>
                    <a:pt x="0" y="325"/>
                    <a:pt x="0" y="325"/>
                  </a:cubicBezTo>
                  <a:cubicBezTo>
                    <a:pt x="0" y="0"/>
                    <a:pt x="0" y="0"/>
                    <a:pt x="0" y="0"/>
                  </a:cubicBezTo>
                  <a:cubicBezTo>
                    <a:pt x="158" y="0"/>
                    <a:pt x="158" y="0"/>
                    <a:pt x="158" y="0"/>
                  </a:cubicBezTo>
                  <a:cubicBezTo>
                    <a:pt x="200" y="0"/>
                    <a:pt x="236" y="18"/>
                    <a:pt x="257" y="55"/>
                  </a:cubicBezTo>
                  <a:cubicBezTo>
                    <a:pt x="268" y="73"/>
                    <a:pt x="275" y="95"/>
                    <a:pt x="276" y="11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7">
              <a:extLst>
                <a:ext uri="{FF2B5EF4-FFF2-40B4-BE49-F238E27FC236}">
                  <a16:creationId xmlns:a16="http://schemas.microsoft.com/office/drawing/2014/main" xmlns="" id="{7F32714D-89FF-4901-A73A-4A58410526A5}"/>
                </a:ext>
              </a:extLst>
            </p:cNvPr>
            <p:cNvSpPr>
              <a:spLocks/>
            </p:cNvSpPr>
            <p:nvPr userDrawn="1"/>
          </p:nvSpPr>
          <p:spPr bwMode="auto">
            <a:xfrm>
              <a:off x="1566864" y="792163"/>
              <a:ext cx="496888" cy="344488"/>
            </a:xfrm>
            <a:custGeom>
              <a:avLst/>
              <a:gdLst>
                <a:gd name="T0" fmla="*/ 265 w 476"/>
                <a:gd name="T1" fmla="*/ 137 h 330"/>
                <a:gd name="T2" fmla="*/ 265 w 476"/>
                <a:gd name="T3" fmla="*/ 330 h 330"/>
                <a:gd name="T4" fmla="*/ 209 w 476"/>
                <a:gd name="T5" fmla="*/ 330 h 330"/>
                <a:gd name="T6" fmla="*/ 209 w 476"/>
                <a:gd name="T7" fmla="*/ 140 h 330"/>
                <a:gd name="T8" fmla="*/ 190 w 476"/>
                <a:gd name="T9" fmla="*/ 81 h 330"/>
                <a:gd name="T10" fmla="*/ 135 w 476"/>
                <a:gd name="T11" fmla="*/ 58 h 330"/>
                <a:gd name="T12" fmla="*/ 56 w 476"/>
                <a:gd name="T13" fmla="*/ 58 h 330"/>
                <a:gd name="T14" fmla="*/ 56 w 476"/>
                <a:gd name="T15" fmla="*/ 330 h 330"/>
                <a:gd name="T16" fmla="*/ 0 w 476"/>
                <a:gd name="T17" fmla="*/ 330 h 330"/>
                <a:gd name="T18" fmla="*/ 0 w 476"/>
                <a:gd name="T19" fmla="*/ 5 h 330"/>
                <a:gd name="T20" fmla="*/ 147 w 476"/>
                <a:gd name="T21" fmla="*/ 5 h 330"/>
                <a:gd name="T22" fmla="*/ 204 w 476"/>
                <a:gd name="T23" fmla="*/ 18 h 330"/>
                <a:gd name="T24" fmla="*/ 244 w 476"/>
                <a:gd name="T25" fmla="*/ 56 h 330"/>
                <a:gd name="T26" fmla="*/ 269 w 476"/>
                <a:gd name="T27" fmla="*/ 29 h 330"/>
                <a:gd name="T28" fmla="*/ 298 w 476"/>
                <a:gd name="T29" fmla="*/ 12 h 330"/>
                <a:gd name="T30" fmla="*/ 327 w 476"/>
                <a:gd name="T31" fmla="*/ 3 h 330"/>
                <a:gd name="T32" fmla="*/ 354 w 476"/>
                <a:gd name="T33" fmla="*/ 0 h 330"/>
                <a:gd name="T34" fmla="*/ 405 w 476"/>
                <a:gd name="T35" fmla="*/ 10 h 330"/>
                <a:gd name="T36" fmla="*/ 443 w 476"/>
                <a:gd name="T37" fmla="*/ 36 h 330"/>
                <a:gd name="T38" fmla="*/ 468 w 476"/>
                <a:gd name="T39" fmla="*/ 77 h 330"/>
                <a:gd name="T40" fmla="*/ 476 w 476"/>
                <a:gd name="T41" fmla="*/ 132 h 330"/>
                <a:gd name="T42" fmla="*/ 476 w 476"/>
                <a:gd name="T43" fmla="*/ 330 h 330"/>
                <a:gd name="T44" fmla="*/ 420 w 476"/>
                <a:gd name="T45" fmla="*/ 330 h 330"/>
                <a:gd name="T46" fmla="*/ 420 w 476"/>
                <a:gd name="T47" fmla="*/ 135 h 330"/>
                <a:gd name="T48" fmla="*/ 420 w 476"/>
                <a:gd name="T49" fmla="*/ 136 h 330"/>
                <a:gd name="T50" fmla="*/ 399 w 476"/>
                <a:gd name="T51" fmla="*/ 77 h 330"/>
                <a:gd name="T52" fmla="*/ 345 w 476"/>
                <a:gd name="T53" fmla="*/ 54 h 330"/>
                <a:gd name="T54" fmla="*/ 294 w 476"/>
                <a:gd name="T55" fmla="*/ 71 h 330"/>
                <a:gd name="T56" fmla="*/ 269 w 476"/>
                <a:gd name="T57" fmla="*/ 107 h 330"/>
                <a:gd name="T58" fmla="*/ 265 w 476"/>
                <a:gd name="T59" fmla="*/ 13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330">
                  <a:moveTo>
                    <a:pt x="265" y="137"/>
                  </a:moveTo>
                  <a:cubicBezTo>
                    <a:pt x="265" y="330"/>
                    <a:pt x="265" y="330"/>
                    <a:pt x="265" y="330"/>
                  </a:cubicBezTo>
                  <a:cubicBezTo>
                    <a:pt x="209" y="330"/>
                    <a:pt x="209" y="330"/>
                    <a:pt x="209" y="330"/>
                  </a:cubicBezTo>
                  <a:cubicBezTo>
                    <a:pt x="209" y="140"/>
                    <a:pt x="209" y="140"/>
                    <a:pt x="209" y="140"/>
                  </a:cubicBezTo>
                  <a:cubicBezTo>
                    <a:pt x="209" y="116"/>
                    <a:pt x="203" y="97"/>
                    <a:pt x="190" y="81"/>
                  </a:cubicBezTo>
                  <a:cubicBezTo>
                    <a:pt x="177" y="65"/>
                    <a:pt x="158" y="58"/>
                    <a:pt x="135" y="58"/>
                  </a:cubicBezTo>
                  <a:cubicBezTo>
                    <a:pt x="56" y="58"/>
                    <a:pt x="56" y="58"/>
                    <a:pt x="56" y="58"/>
                  </a:cubicBezTo>
                  <a:cubicBezTo>
                    <a:pt x="56" y="330"/>
                    <a:pt x="56" y="330"/>
                    <a:pt x="56" y="330"/>
                  </a:cubicBezTo>
                  <a:cubicBezTo>
                    <a:pt x="0" y="330"/>
                    <a:pt x="0" y="330"/>
                    <a:pt x="0" y="330"/>
                  </a:cubicBezTo>
                  <a:cubicBezTo>
                    <a:pt x="0" y="5"/>
                    <a:pt x="0" y="5"/>
                    <a:pt x="0" y="5"/>
                  </a:cubicBezTo>
                  <a:cubicBezTo>
                    <a:pt x="147" y="5"/>
                    <a:pt x="147" y="5"/>
                    <a:pt x="147" y="5"/>
                  </a:cubicBezTo>
                  <a:cubicBezTo>
                    <a:pt x="169" y="5"/>
                    <a:pt x="188" y="9"/>
                    <a:pt x="204" y="18"/>
                  </a:cubicBezTo>
                  <a:cubicBezTo>
                    <a:pt x="220" y="28"/>
                    <a:pt x="234" y="40"/>
                    <a:pt x="244" y="56"/>
                  </a:cubicBezTo>
                  <a:cubicBezTo>
                    <a:pt x="251" y="45"/>
                    <a:pt x="260" y="36"/>
                    <a:pt x="269" y="29"/>
                  </a:cubicBezTo>
                  <a:cubicBezTo>
                    <a:pt x="278" y="22"/>
                    <a:pt x="288" y="16"/>
                    <a:pt x="298" y="12"/>
                  </a:cubicBezTo>
                  <a:cubicBezTo>
                    <a:pt x="307" y="8"/>
                    <a:pt x="317" y="5"/>
                    <a:pt x="327" y="3"/>
                  </a:cubicBezTo>
                  <a:cubicBezTo>
                    <a:pt x="337" y="1"/>
                    <a:pt x="346" y="0"/>
                    <a:pt x="354" y="0"/>
                  </a:cubicBezTo>
                  <a:cubicBezTo>
                    <a:pt x="373" y="0"/>
                    <a:pt x="390" y="4"/>
                    <a:pt x="405" y="10"/>
                  </a:cubicBezTo>
                  <a:cubicBezTo>
                    <a:pt x="420" y="17"/>
                    <a:pt x="433" y="25"/>
                    <a:pt x="443" y="36"/>
                  </a:cubicBezTo>
                  <a:cubicBezTo>
                    <a:pt x="454" y="47"/>
                    <a:pt x="462" y="61"/>
                    <a:pt x="468" y="77"/>
                  </a:cubicBezTo>
                  <a:cubicBezTo>
                    <a:pt x="473" y="93"/>
                    <a:pt x="476" y="112"/>
                    <a:pt x="476" y="132"/>
                  </a:cubicBezTo>
                  <a:cubicBezTo>
                    <a:pt x="476" y="330"/>
                    <a:pt x="476" y="330"/>
                    <a:pt x="476" y="330"/>
                  </a:cubicBezTo>
                  <a:cubicBezTo>
                    <a:pt x="420" y="330"/>
                    <a:pt x="420" y="330"/>
                    <a:pt x="420" y="330"/>
                  </a:cubicBezTo>
                  <a:cubicBezTo>
                    <a:pt x="420" y="135"/>
                    <a:pt x="420" y="135"/>
                    <a:pt x="420" y="135"/>
                  </a:cubicBezTo>
                  <a:cubicBezTo>
                    <a:pt x="420" y="136"/>
                    <a:pt x="420" y="136"/>
                    <a:pt x="420" y="136"/>
                  </a:cubicBezTo>
                  <a:cubicBezTo>
                    <a:pt x="420" y="116"/>
                    <a:pt x="412" y="93"/>
                    <a:pt x="399" y="77"/>
                  </a:cubicBezTo>
                  <a:cubicBezTo>
                    <a:pt x="386" y="61"/>
                    <a:pt x="368" y="54"/>
                    <a:pt x="345" y="54"/>
                  </a:cubicBezTo>
                  <a:cubicBezTo>
                    <a:pt x="324" y="54"/>
                    <a:pt x="307" y="59"/>
                    <a:pt x="294" y="71"/>
                  </a:cubicBezTo>
                  <a:cubicBezTo>
                    <a:pt x="283" y="80"/>
                    <a:pt x="274" y="92"/>
                    <a:pt x="269" y="107"/>
                  </a:cubicBezTo>
                  <a:cubicBezTo>
                    <a:pt x="265" y="120"/>
                    <a:pt x="265" y="137"/>
                    <a:pt x="265" y="13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8">
              <a:extLst>
                <a:ext uri="{FF2B5EF4-FFF2-40B4-BE49-F238E27FC236}">
                  <a16:creationId xmlns:a16="http://schemas.microsoft.com/office/drawing/2014/main" xmlns="" id="{4E68BD80-F9CE-4B38-817B-9B94661A7F7C}"/>
                </a:ext>
              </a:extLst>
            </p:cNvPr>
            <p:cNvSpPr>
              <a:spLocks noEditPoints="1"/>
            </p:cNvSpPr>
            <p:nvPr userDrawn="1"/>
          </p:nvSpPr>
          <p:spPr bwMode="auto">
            <a:xfrm>
              <a:off x="2117726" y="790576"/>
              <a:ext cx="341313" cy="349250"/>
            </a:xfrm>
            <a:custGeom>
              <a:avLst/>
              <a:gdLst>
                <a:gd name="T0" fmla="*/ 223 w 326"/>
                <a:gd name="T1" fmla="*/ 326 h 335"/>
                <a:gd name="T2" fmla="*/ 167 w 326"/>
                <a:gd name="T3" fmla="*/ 335 h 335"/>
                <a:gd name="T4" fmla="*/ 100 w 326"/>
                <a:gd name="T5" fmla="*/ 322 h 335"/>
                <a:gd name="T6" fmla="*/ 48 w 326"/>
                <a:gd name="T7" fmla="*/ 287 h 335"/>
                <a:gd name="T8" fmla="*/ 13 w 326"/>
                <a:gd name="T9" fmla="*/ 234 h 335"/>
                <a:gd name="T10" fmla="*/ 0 w 326"/>
                <a:gd name="T11" fmla="*/ 168 h 335"/>
                <a:gd name="T12" fmla="*/ 13 w 326"/>
                <a:gd name="T13" fmla="*/ 101 h 335"/>
                <a:gd name="T14" fmla="*/ 48 w 326"/>
                <a:gd name="T15" fmla="*/ 48 h 335"/>
                <a:gd name="T16" fmla="*/ 100 w 326"/>
                <a:gd name="T17" fmla="*/ 13 h 335"/>
                <a:gd name="T18" fmla="*/ 167 w 326"/>
                <a:gd name="T19" fmla="*/ 0 h 335"/>
                <a:gd name="T20" fmla="*/ 223 w 326"/>
                <a:gd name="T21" fmla="*/ 9 h 335"/>
                <a:gd name="T22" fmla="*/ 270 w 326"/>
                <a:gd name="T23" fmla="*/ 37 h 335"/>
                <a:gd name="T24" fmla="*/ 270 w 326"/>
                <a:gd name="T25" fmla="*/ 5 h 335"/>
                <a:gd name="T26" fmla="*/ 326 w 326"/>
                <a:gd name="T27" fmla="*/ 5 h 335"/>
                <a:gd name="T28" fmla="*/ 326 w 326"/>
                <a:gd name="T29" fmla="*/ 330 h 335"/>
                <a:gd name="T30" fmla="*/ 270 w 326"/>
                <a:gd name="T31" fmla="*/ 330 h 335"/>
                <a:gd name="T32" fmla="*/ 270 w 326"/>
                <a:gd name="T33" fmla="*/ 298 h 335"/>
                <a:gd name="T34" fmla="*/ 223 w 326"/>
                <a:gd name="T35" fmla="*/ 326 h 335"/>
                <a:gd name="T36" fmla="*/ 59 w 326"/>
                <a:gd name="T37" fmla="*/ 168 h 335"/>
                <a:gd name="T38" fmla="*/ 67 w 326"/>
                <a:gd name="T39" fmla="*/ 212 h 335"/>
                <a:gd name="T40" fmla="*/ 89 w 326"/>
                <a:gd name="T41" fmla="*/ 249 h 335"/>
                <a:gd name="T42" fmla="*/ 124 w 326"/>
                <a:gd name="T43" fmla="*/ 273 h 335"/>
                <a:gd name="T44" fmla="*/ 167 w 326"/>
                <a:gd name="T45" fmla="*/ 281 h 335"/>
                <a:gd name="T46" fmla="*/ 229 w 326"/>
                <a:gd name="T47" fmla="*/ 266 h 335"/>
                <a:gd name="T48" fmla="*/ 270 w 326"/>
                <a:gd name="T49" fmla="*/ 229 h 335"/>
                <a:gd name="T50" fmla="*/ 270 w 326"/>
                <a:gd name="T51" fmla="*/ 104 h 335"/>
                <a:gd name="T52" fmla="*/ 229 w 326"/>
                <a:gd name="T53" fmla="*/ 67 h 335"/>
                <a:gd name="T54" fmla="*/ 167 w 326"/>
                <a:gd name="T55" fmla="*/ 52 h 335"/>
                <a:gd name="T56" fmla="*/ 124 w 326"/>
                <a:gd name="T57" fmla="*/ 61 h 335"/>
                <a:gd name="T58" fmla="*/ 89 w 326"/>
                <a:gd name="T59" fmla="*/ 85 h 335"/>
                <a:gd name="T60" fmla="*/ 67 w 326"/>
                <a:gd name="T61" fmla="*/ 122 h 335"/>
                <a:gd name="T62" fmla="*/ 59 w 326"/>
                <a:gd name="T63" fmla="*/ 16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6" h="335">
                  <a:moveTo>
                    <a:pt x="223" y="326"/>
                  </a:moveTo>
                  <a:cubicBezTo>
                    <a:pt x="206" y="332"/>
                    <a:pt x="187" y="335"/>
                    <a:pt x="167" y="335"/>
                  </a:cubicBezTo>
                  <a:cubicBezTo>
                    <a:pt x="143" y="335"/>
                    <a:pt x="121" y="331"/>
                    <a:pt x="100" y="322"/>
                  </a:cubicBezTo>
                  <a:cubicBezTo>
                    <a:pt x="80" y="314"/>
                    <a:pt x="63" y="302"/>
                    <a:pt x="48" y="287"/>
                  </a:cubicBezTo>
                  <a:cubicBezTo>
                    <a:pt x="33" y="272"/>
                    <a:pt x="21" y="255"/>
                    <a:pt x="13" y="234"/>
                  </a:cubicBezTo>
                  <a:cubicBezTo>
                    <a:pt x="4" y="213"/>
                    <a:pt x="0" y="191"/>
                    <a:pt x="0" y="168"/>
                  </a:cubicBezTo>
                  <a:cubicBezTo>
                    <a:pt x="0" y="144"/>
                    <a:pt x="4" y="122"/>
                    <a:pt x="13" y="101"/>
                  </a:cubicBezTo>
                  <a:cubicBezTo>
                    <a:pt x="21" y="80"/>
                    <a:pt x="33" y="63"/>
                    <a:pt x="48" y="48"/>
                  </a:cubicBezTo>
                  <a:cubicBezTo>
                    <a:pt x="63" y="33"/>
                    <a:pt x="80" y="21"/>
                    <a:pt x="100" y="13"/>
                  </a:cubicBezTo>
                  <a:cubicBezTo>
                    <a:pt x="121" y="4"/>
                    <a:pt x="143" y="0"/>
                    <a:pt x="167" y="0"/>
                  </a:cubicBezTo>
                  <a:cubicBezTo>
                    <a:pt x="187" y="0"/>
                    <a:pt x="206" y="3"/>
                    <a:pt x="223" y="9"/>
                  </a:cubicBezTo>
                  <a:cubicBezTo>
                    <a:pt x="241" y="16"/>
                    <a:pt x="257" y="25"/>
                    <a:pt x="270" y="37"/>
                  </a:cubicBezTo>
                  <a:cubicBezTo>
                    <a:pt x="270" y="5"/>
                    <a:pt x="270" y="5"/>
                    <a:pt x="270" y="5"/>
                  </a:cubicBezTo>
                  <a:cubicBezTo>
                    <a:pt x="326" y="5"/>
                    <a:pt x="326" y="5"/>
                    <a:pt x="326" y="5"/>
                  </a:cubicBezTo>
                  <a:cubicBezTo>
                    <a:pt x="326" y="330"/>
                    <a:pt x="326" y="330"/>
                    <a:pt x="326" y="330"/>
                  </a:cubicBezTo>
                  <a:cubicBezTo>
                    <a:pt x="270" y="330"/>
                    <a:pt x="270" y="330"/>
                    <a:pt x="270" y="330"/>
                  </a:cubicBezTo>
                  <a:cubicBezTo>
                    <a:pt x="270" y="298"/>
                    <a:pt x="270" y="298"/>
                    <a:pt x="270" y="298"/>
                  </a:cubicBezTo>
                  <a:cubicBezTo>
                    <a:pt x="257" y="310"/>
                    <a:pt x="241" y="319"/>
                    <a:pt x="223" y="326"/>
                  </a:cubicBezTo>
                  <a:close/>
                  <a:moveTo>
                    <a:pt x="59" y="168"/>
                  </a:moveTo>
                  <a:cubicBezTo>
                    <a:pt x="59" y="183"/>
                    <a:pt x="61" y="198"/>
                    <a:pt x="67" y="212"/>
                  </a:cubicBezTo>
                  <a:cubicBezTo>
                    <a:pt x="72" y="226"/>
                    <a:pt x="80" y="238"/>
                    <a:pt x="89" y="249"/>
                  </a:cubicBezTo>
                  <a:cubicBezTo>
                    <a:pt x="99" y="259"/>
                    <a:pt x="111" y="267"/>
                    <a:pt x="124" y="273"/>
                  </a:cubicBezTo>
                  <a:cubicBezTo>
                    <a:pt x="137" y="279"/>
                    <a:pt x="151" y="281"/>
                    <a:pt x="167" y="281"/>
                  </a:cubicBezTo>
                  <a:cubicBezTo>
                    <a:pt x="191" y="281"/>
                    <a:pt x="211" y="276"/>
                    <a:pt x="229" y="266"/>
                  </a:cubicBezTo>
                  <a:cubicBezTo>
                    <a:pt x="246" y="257"/>
                    <a:pt x="260" y="244"/>
                    <a:pt x="270" y="229"/>
                  </a:cubicBezTo>
                  <a:cubicBezTo>
                    <a:pt x="270" y="104"/>
                    <a:pt x="270" y="104"/>
                    <a:pt x="270" y="104"/>
                  </a:cubicBezTo>
                  <a:cubicBezTo>
                    <a:pt x="260" y="89"/>
                    <a:pt x="246" y="77"/>
                    <a:pt x="229" y="67"/>
                  </a:cubicBezTo>
                  <a:cubicBezTo>
                    <a:pt x="211" y="58"/>
                    <a:pt x="191" y="52"/>
                    <a:pt x="167" y="52"/>
                  </a:cubicBezTo>
                  <a:cubicBezTo>
                    <a:pt x="151" y="52"/>
                    <a:pt x="137" y="55"/>
                    <a:pt x="124" y="61"/>
                  </a:cubicBezTo>
                  <a:cubicBezTo>
                    <a:pt x="111" y="67"/>
                    <a:pt x="99" y="75"/>
                    <a:pt x="89" y="85"/>
                  </a:cubicBezTo>
                  <a:cubicBezTo>
                    <a:pt x="80" y="95"/>
                    <a:pt x="72" y="108"/>
                    <a:pt x="67" y="122"/>
                  </a:cubicBezTo>
                  <a:cubicBezTo>
                    <a:pt x="61" y="136"/>
                    <a:pt x="59" y="151"/>
                    <a:pt x="59" y="16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9">
              <a:extLst>
                <a:ext uri="{FF2B5EF4-FFF2-40B4-BE49-F238E27FC236}">
                  <a16:creationId xmlns:a16="http://schemas.microsoft.com/office/drawing/2014/main" xmlns="" id="{63754A1A-B4B5-41FF-AA60-DF274454D50D}"/>
                </a:ext>
              </a:extLst>
            </p:cNvPr>
            <p:cNvSpPr>
              <a:spLocks/>
            </p:cNvSpPr>
            <p:nvPr userDrawn="1"/>
          </p:nvSpPr>
          <p:spPr bwMode="auto">
            <a:xfrm>
              <a:off x="2901951" y="692151"/>
              <a:ext cx="161925" cy="442913"/>
            </a:xfrm>
            <a:custGeom>
              <a:avLst/>
              <a:gdLst>
                <a:gd name="T0" fmla="*/ 0 w 154"/>
                <a:gd name="T1" fmla="*/ 98 h 423"/>
                <a:gd name="T2" fmla="*/ 0 w 154"/>
                <a:gd name="T3" fmla="*/ 28 h 423"/>
                <a:gd name="T4" fmla="*/ 56 w 154"/>
                <a:gd name="T5" fmla="*/ 0 h 423"/>
                <a:gd name="T6" fmla="*/ 56 w 154"/>
                <a:gd name="T7" fmla="*/ 97 h 423"/>
                <a:gd name="T8" fmla="*/ 154 w 154"/>
                <a:gd name="T9" fmla="*/ 97 h 423"/>
                <a:gd name="T10" fmla="*/ 142 w 154"/>
                <a:gd name="T11" fmla="*/ 148 h 423"/>
                <a:gd name="T12" fmla="*/ 56 w 154"/>
                <a:gd name="T13" fmla="*/ 148 h 423"/>
                <a:gd name="T14" fmla="*/ 56 w 154"/>
                <a:gd name="T15" fmla="*/ 320 h 423"/>
                <a:gd name="T16" fmla="*/ 66 w 154"/>
                <a:gd name="T17" fmla="*/ 358 h 423"/>
                <a:gd name="T18" fmla="*/ 104 w 154"/>
                <a:gd name="T19" fmla="*/ 372 h 423"/>
                <a:gd name="T20" fmla="*/ 147 w 154"/>
                <a:gd name="T21" fmla="*/ 372 h 423"/>
                <a:gd name="T22" fmla="*/ 147 w 154"/>
                <a:gd name="T23" fmla="*/ 423 h 423"/>
                <a:gd name="T24" fmla="*/ 98 w 154"/>
                <a:gd name="T25" fmla="*/ 423 h 423"/>
                <a:gd name="T26" fmla="*/ 26 w 154"/>
                <a:gd name="T27" fmla="*/ 399 h 423"/>
                <a:gd name="T28" fmla="*/ 0 w 154"/>
                <a:gd name="T29" fmla="*/ 329 h 423"/>
                <a:gd name="T30" fmla="*/ 0 w 154"/>
                <a:gd name="T31" fmla="*/ 149 h 423"/>
                <a:gd name="T32" fmla="*/ 0 w 154"/>
                <a:gd name="T33" fmla="*/ 98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423">
                  <a:moveTo>
                    <a:pt x="0" y="98"/>
                  </a:moveTo>
                  <a:cubicBezTo>
                    <a:pt x="0" y="28"/>
                    <a:pt x="0" y="28"/>
                    <a:pt x="0" y="28"/>
                  </a:cubicBezTo>
                  <a:cubicBezTo>
                    <a:pt x="56" y="0"/>
                    <a:pt x="56" y="0"/>
                    <a:pt x="56" y="0"/>
                  </a:cubicBezTo>
                  <a:cubicBezTo>
                    <a:pt x="56" y="97"/>
                    <a:pt x="56" y="97"/>
                    <a:pt x="56" y="97"/>
                  </a:cubicBezTo>
                  <a:cubicBezTo>
                    <a:pt x="154" y="97"/>
                    <a:pt x="154" y="97"/>
                    <a:pt x="154" y="97"/>
                  </a:cubicBezTo>
                  <a:cubicBezTo>
                    <a:pt x="142" y="148"/>
                    <a:pt x="142" y="148"/>
                    <a:pt x="142" y="148"/>
                  </a:cubicBezTo>
                  <a:cubicBezTo>
                    <a:pt x="56" y="148"/>
                    <a:pt x="56" y="148"/>
                    <a:pt x="56" y="148"/>
                  </a:cubicBezTo>
                  <a:cubicBezTo>
                    <a:pt x="56" y="320"/>
                    <a:pt x="56" y="320"/>
                    <a:pt x="56" y="320"/>
                  </a:cubicBezTo>
                  <a:cubicBezTo>
                    <a:pt x="56" y="336"/>
                    <a:pt x="59" y="349"/>
                    <a:pt x="66" y="358"/>
                  </a:cubicBezTo>
                  <a:cubicBezTo>
                    <a:pt x="73" y="367"/>
                    <a:pt x="86" y="372"/>
                    <a:pt x="104" y="372"/>
                  </a:cubicBezTo>
                  <a:cubicBezTo>
                    <a:pt x="147" y="372"/>
                    <a:pt x="147" y="372"/>
                    <a:pt x="147" y="372"/>
                  </a:cubicBezTo>
                  <a:cubicBezTo>
                    <a:pt x="147" y="423"/>
                    <a:pt x="147" y="423"/>
                    <a:pt x="147" y="423"/>
                  </a:cubicBezTo>
                  <a:cubicBezTo>
                    <a:pt x="98" y="423"/>
                    <a:pt x="98" y="423"/>
                    <a:pt x="98" y="423"/>
                  </a:cubicBezTo>
                  <a:cubicBezTo>
                    <a:pt x="67" y="423"/>
                    <a:pt x="43" y="415"/>
                    <a:pt x="26" y="399"/>
                  </a:cubicBezTo>
                  <a:cubicBezTo>
                    <a:pt x="9" y="384"/>
                    <a:pt x="0" y="360"/>
                    <a:pt x="0" y="329"/>
                  </a:cubicBezTo>
                  <a:cubicBezTo>
                    <a:pt x="0" y="149"/>
                    <a:pt x="0" y="149"/>
                    <a:pt x="0" y="149"/>
                  </a:cubicBezTo>
                  <a:lnTo>
                    <a:pt x="0" y="9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0">
              <a:extLst>
                <a:ext uri="{FF2B5EF4-FFF2-40B4-BE49-F238E27FC236}">
                  <a16:creationId xmlns:a16="http://schemas.microsoft.com/office/drawing/2014/main" xmlns="" id="{4B2B7CAF-DFB9-4F7A-8A66-9D32086D4CBD}"/>
                </a:ext>
              </a:extLst>
            </p:cNvPr>
            <p:cNvSpPr>
              <a:spLocks noEditPoints="1"/>
            </p:cNvSpPr>
            <p:nvPr userDrawn="1"/>
          </p:nvSpPr>
          <p:spPr bwMode="auto">
            <a:xfrm>
              <a:off x="1169989" y="788988"/>
              <a:ext cx="333375" cy="349250"/>
            </a:xfrm>
            <a:custGeom>
              <a:avLst/>
              <a:gdLst>
                <a:gd name="T0" fmla="*/ 320 w 320"/>
                <a:gd name="T1" fmla="*/ 161 h 334"/>
                <a:gd name="T2" fmla="*/ 167 w 320"/>
                <a:gd name="T3" fmla="*/ 0 h 334"/>
                <a:gd name="T4" fmla="*/ 0 w 320"/>
                <a:gd name="T5" fmla="*/ 167 h 334"/>
                <a:gd name="T6" fmla="*/ 167 w 320"/>
                <a:gd name="T7" fmla="*/ 334 h 334"/>
                <a:gd name="T8" fmla="*/ 311 w 320"/>
                <a:gd name="T9" fmla="*/ 258 h 334"/>
                <a:gd name="T10" fmla="*/ 268 w 320"/>
                <a:gd name="T11" fmla="*/ 228 h 334"/>
                <a:gd name="T12" fmla="*/ 167 w 320"/>
                <a:gd name="T13" fmla="*/ 284 h 334"/>
                <a:gd name="T14" fmla="*/ 56 w 320"/>
                <a:gd name="T15" fmla="*/ 178 h 334"/>
                <a:gd name="T16" fmla="*/ 320 w 320"/>
                <a:gd name="T17" fmla="*/ 178 h 334"/>
                <a:gd name="T18" fmla="*/ 320 w 320"/>
                <a:gd name="T19" fmla="*/ 161 h 334"/>
                <a:gd name="T20" fmla="*/ 60 w 320"/>
                <a:gd name="T21" fmla="*/ 133 h 334"/>
                <a:gd name="T22" fmla="*/ 62 w 320"/>
                <a:gd name="T23" fmla="*/ 125 h 334"/>
                <a:gd name="T24" fmla="*/ 62 w 320"/>
                <a:gd name="T25" fmla="*/ 125 h 334"/>
                <a:gd name="T26" fmla="*/ 165 w 320"/>
                <a:gd name="T27" fmla="*/ 49 h 334"/>
                <a:gd name="T28" fmla="*/ 264 w 320"/>
                <a:gd name="T29" fmla="*/ 133 h 334"/>
                <a:gd name="T30" fmla="*/ 60 w 320"/>
                <a:gd name="T31" fmla="*/ 13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0" h="334">
                  <a:moveTo>
                    <a:pt x="320" y="161"/>
                  </a:moveTo>
                  <a:cubicBezTo>
                    <a:pt x="320" y="59"/>
                    <a:pt x="251" y="0"/>
                    <a:pt x="167" y="0"/>
                  </a:cubicBezTo>
                  <a:cubicBezTo>
                    <a:pt x="70" y="0"/>
                    <a:pt x="0" y="73"/>
                    <a:pt x="0" y="167"/>
                  </a:cubicBezTo>
                  <a:cubicBezTo>
                    <a:pt x="0" y="262"/>
                    <a:pt x="67" y="334"/>
                    <a:pt x="167" y="334"/>
                  </a:cubicBezTo>
                  <a:cubicBezTo>
                    <a:pt x="233" y="334"/>
                    <a:pt x="282" y="305"/>
                    <a:pt x="311" y="258"/>
                  </a:cubicBezTo>
                  <a:cubicBezTo>
                    <a:pt x="268" y="228"/>
                    <a:pt x="268" y="228"/>
                    <a:pt x="268" y="228"/>
                  </a:cubicBezTo>
                  <a:cubicBezTo>
                    <a:pt x="248" y="262"/>
                    <a:pt x="217" y="284"/>
                    <a:pt x="167" y="284"/>
                  </a:cubicBezTo>
                  <a:cubicBezTo>
                    <a:pt x="104" y="284"/>
                    <a:pt x="58" y="239"/>
                    <a:pt x="56" y="178"/>
                  </a:cubicBezTo>
                  <a:cubicBezTo>
                    <a:pt x="320" y="178"/>
                    <a:pt x="320" y="178"/>
                    <a:pt x="320" y="178"/>
                  </a:cubicBezTo>
                  <a:cubicBezTo>
                    <a:pt x="320" y="171"/>
                    <a:pt x="320" y="167"/>
                    <a:pt x="320" y="161"/>
                  </a:cubicBezTo>
                  <a:close/>
                  <a:moveTo>
                    <a:pt x="60" y="133"/>
                  </a:moveTo>
                  <a:cubicBezTo>
                    <a:pt x="61" y="130"/>
                    <a:pt x="61" y="127"/>
                    <a:pt x="62" y="125"/>
                  </a:cubicBezTo>
                  <a:cubicBezTo>
                    <a:pt x="62" y="125"/>
                    <a:pt x="62" y="125"/>
                    <a:pt x="62" y="125"/>
                  </a:cubicBezTo>
                  <a:cubicBezTo>
                    <a:pt x="75" y="76"/>
                    <a:pt x="120" y="49"/>
                    <a:pt x="165" y="49"/>
                  </a:cubicBezTo>
                  <a:cubicBezTo>
                    <a:pt x="214" y="49"/>
                    <a:pt x="256" y="80"/>
                    <a:pt x="264" y="133"/>
                  </a:cubicBezTo>
                  <a:lnTo>
                    <a:pt x="60" y="13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11">
              <a:extLst>
                <a:ext uri="{FF2B5EF4-FFF2-40B4-BE49-F238E27FC236}">
                  <a16:creationId xmlns:a16="http://schemas.microsoft.com/office/drawing/2014/main" xmlns="" id="{F2F2EB22-2DD1-4AA1-888F-AB8A0EFE5517}"/>
                </a:ext>
              </a:extLst>
            </p:cNvPr>
            <p:cNvSpPr>
              <a:spLocks/>
            </p:cNvSpPr>
            <p:nvPr userDrawn="1"/>
          </p:nvSpPr>
          <p:spPr bwMode="auto">
            <a:xfrm>
              <a:off x="692151" y="652463"/>
              <a:ext cx="436563" cy="482600"/>
            </a:xfrm>
            <a:custGeom>
              <a:avLst/>
              <a:gdLst>
                <a:gd name="T0" fmla="*/ 398 w 417"/>
                <a:gd name="T1" fmla="*/ 139 h 462"/>
                <a:gd name="T2" fmla="*/ 347 w 417"/>
                <a:gd name="T3" fmla="*/ 67 h 462"/>
                <a:gd name="T4" fmla="*/ 270 w 417"/>
                <a:gd name="T5" fmla="*/ 18 h 462"/>
                <a:gd name="T6" fmla="*/ 171 w 417"/>
                <a:gd name="T7" fmla="*/ 0 h 462"/>
                <a:gd name="T8" fmla="*/ 14 w 417"/>
                <a:gd name="T9" fmla="*/ 0 h 462"/>
                <a:gd name="T10" fmla="*/ 0 w 417"/>
                <a:gd name="T11" fmla="*/ 56 h 462"/>
                <a:gd name="T12" fmla="*/ 171 w 417"/>
                <a:gd name="T13" fmla="*/ 56 h 462"/>
                <a:gd name="T14" fmla="*/ 247 w 417"/>
                <a:gd name="T15" fmla="*/ 69 h 462"/>
                <a:gd name="T16" fmla="*/ 306 w 417"/>
                <a:gd name="T17" fmla="*/ 106 h 462"/>
                <a:gd name="T18" fmla="*/ 343 w 417"/>
                <a:gd name="T19" fmla="*/ 162 h 462"/>
                <a:gd name="T20" fmla="*/ 357 w 417"/>
                <a:gd name="T21" fmla="*/ 233 h 462"/>
                <a:gd name="T22" fmla="*/ 343 w 417"/>
                <a:gd name="T23" fmla="*/ 303 h 462"/>
                <a:gd name="T24" fmla="*/ 306 w 417"/>
                <a:gd name="T25" fmla="*/ 359 h 462"/>
                <a:gd name="T26" fmla="*/ 247 w 417"/>
                <a:gd name="T27" fmla="*/ 396 h 462"/>
                <a:gd name="T28" fmla="*/ 171 w 417"/>
                <a:gd name="T29" fmla="*/ 410 h 462"/>
                <a:gd name="T30" fmla="*/ 120 w 417"/>
                <a:gd name="T31" fmla="*/ 408 h 462"/>
                <a:gd name="T32" fmla="*/ 120 w 417"/>
                <a:gd name="T33" fmla="*/ 95 h 462"/>
                <a:gd name="T34" fmla="*/ 64 w 417"/>
                <a:gd name="T35" fmla="*/ 95 h 462"/>
                <a:gd name="T36" fmla="*/ 64 w 417"/>
                <a:gd name="T37" fmla="*/ 462 h 462"/>
                <a:gd name="T38" fmla="*/ 64 w 417"/>
                <a:gd name="T39" fmla="*/ 462 h 462"/>
                <a:gd name="T40" fmla="*/ 120 w 417"/>
                <a:gd name="T41" fmla="*/ 462 h 462"/>
                <a:gd name="T42" fmla="*/ 172 w 417"/>
                <a:gd name="T43" fmla="*/ 462 h 462"/>
                <a:gd name="T44" fmla="*/ 271 w 417"/>
                <a:gd name="T45" fmla="*/ 445 h 462"/>
                <a:gd name="T46" fmla="*/ 348 w 417"/>
                <a:gd name="T47" fmla="*/ 396 h 462"/>
                <a:gd name="T48" fmla="*/ 399 w 417"/>
                <a:gd name="T49" fmla="*/ 323 h 462"/>
                <a:gd name="T50" fmla="*/ 417 w 417"/>
                <a:gd name="T51" fmla="*/ 231 h 462"/>
                <a:gd name="T52" fmla="*/ 398 w 417"/>
                <a:gd name="T53" fmla="*/ 13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7" h="462">
                  <a:moveTo>
                    <a:pt x="398" y="139"/>
                  </a:moveTo>
                  <a:cubicBezTo>
                    <a:pt x="386" y="111"/>
                    <a:pt x="369" y="87"/>
                    <a:pt x="347" y="67"/>
                  </a:cubicBezTo>
                  <a:cubicBezTo>
                    <a:pt x="326" y="46"/>
                    <a:pt x="300" y="29"/>
                    <a:pt x="270" y="18"/>
                  </a:cubicBezTo>
                  <a:cubicBezTo>
                    <a:pt x="240" y="6"/>
                    <a:pt x="207" y="0"/>
                    <a:pt x="171" y="0"/>
                  </a:cubicBezTo>
                  <a:cubicBezTo>
                    <a:pt x="14" y="0"/>
                    <a:pt x="14" y="0"/>
                    <a:pt x="14" y="0"/>
                  </a:cubicBezTo>
                  <a:cubicBezTo>
                    <a:pt x="0" y="56"/>
                    <a:pt x="0" y="56"/>
                    <a:pt x="0" y="56"/>
                  </a:cubicBezTo>
                  <a:cubicBezTo>
                    <a:pt x="171" y="56"/>
                    <a:pt x="171" y="56"/>
                    <a:pt x="171" y="56"/>
                  </a:cubicBezTo>
                  <a:cubicBezTo>
                    <a:pt x="199" y="56"/>
                    <a:pt x="224" y="60"/>
                    <a:pt x="247" y="69"/>
                  </a:cubicBezTo>
                  <a:cubicBezTo>
                    <a:pt x="270" y="78"/>
                    <a:pt x="289" y="91"/>
                    <a:pt x="306" y="106"/>
                  </a:cubicBezTo>
                  <a:cubicBezTo>
                    <a:pt x="322" y="122"/>
                    <a:pt x="334" y="141"/>
                    <a:pt x="343" y="162"/>
                  </a:cubicBezTo>
                  <a:cubicBezTo>
                    <a:pt x="353" y="184"/>
                    <a:pt x="357" y="207"/>
                    <a:pt x="357" y="233"/>
                  </a:cubicBezTo>
                  <a:cubicBezTo>
                    <a:pt x="357" y="258"/>
                    <a:pt x="353" y="281"/>
                    <a:pt x="343" y="303"/>
                  </a:cubicBezTo>
                  <a:cubicBezTo>
                    <a:pt x="334" y="324"/>
                    <a:pt x="322" y="343"/>
                    <a:pt x="306" y="359"/>
                  </a:cubicBezTo>
                  <a:cubicBezTo>
                    <a:pt x="289" y="374"/>
                    <a:pt x="270" y="387"/>
                    <a:pt x="247" y="396"/>
                  </a:cubicBezTo>
                  <a:cubicBezTo>
                    <a:pt x="224" y="405"/>
                    <a:pt x="199" y="410"/>
                    <a:pt x="171" y="410"/>
                  </a:cubicBezTo>
                  <a:cubicBezTo>
                    <a:pt x="120" y="408"/>
                    <a:pt x="120" y="408"/>
                    <a:pt x="120" y="408"/>
                  </a:cubicBezTo>
                  <a:cubicBezTo>
                    <a:pt x="120" y="95"/>
                    <a:pt x="120" y="95"/>
                    <a:pt x="120" y="95"/>
                  </a:cubicBezTo>
                  <a:cubicBezTo>
                    <a:pt x="64" y="95"/>
                    <a:pt x="64" y="95"/>
                    <a:pt x="64" y="95"/>
                  </a:cubicBezTo>
                  <a:cubicBezTo>
                    <a:pt x="64" y="462"/>
                    <a:pt x="64" y="462"/>
                    <a:pt x="64" y="462"/>
                  </a:cubicBezTo>
                  <a:cubicBezTo>
                    <a:pt x="64" y="462"/>
                    <a:pt x="64" y="462"/>
                    <a:pt x="64" y="462"/>
                  </a:cubicBezTo>
                  <a:cubicBezTo>
                    <a:pt x="120" y="462"/>
                    <a:pt x="120" y="462"/>
                    <a:pt x="120" y="462"/>
                  </a:cubicBezTo>
                  <a:cubicBezTo>
                    <a:pt x="172" y="462"/>
                    <a:pt x="172" y="462"/>
                    <a:pt x="172" y="462"/>
                  </a:cubicBezTo>
                  <a:cubicBezTo>
                    <a:pt x="208" y="462"/>
                    <a:pt x="241" y="456"/>
                    <a:pt x="271" y="445"/>
                  </a:cubicBezTo>
                  <a:cubicBezTo>
                    <a:pt x="301" y="433"/>
                    <a:pt x="327" y="417"/>
                    <a:pt x="348" y="396"/>
                  </a:cubicBezTo>
                  <a:cubicBezTo>
                    <a:pt x="369" y="375"/>
                    <a:pt x="386" y="351"/>
                    <a:pt x="399" y="323"/>
                  </a:cubicBezTo>
                  <a:cubicBezTo>
                    <a:pt x="411" y="295"/>
                    <a:pt x="417" y="264"/>
                    <a:pt x="417" y="231"/>
                  </a:cubicBezTo>
                  <a:cubicBezTo>
                    <a:pt x="417" y="198"/>
                    <a:pt x="410" y="167"/>
                    <a:pt x="398" y="13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xmlns="" val="2756906128"/>
      </p:ext>
    </p:extLst>
  </p:cSld>
  <p:clrMapOvr>
    <a:masterClrMapping/>
  </p:clrMapOvr>
  <p:extLst>
    <p:ext uri="{DCECCB84-F9BA-43D5-87BE-67443E8EF086}">
      <p15:sldGuideLst xmlns:p15="http://schemas.microsoft.com/office/powerpoint/2012/main" xmlns="">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title, content - dark blu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C14F4855-BA4B-4417-960E-8083EC6FC321}"/>
              </a:ext>
            </a:extLst>
          </p:cNvPr>
          <p:cNvGraphicFramePr>
            <a:graphicFrameLocks noChangeAspect="1"/>
          </p:cNvGraphicFramePr>
          <p:nvPr userDrawn="1">
            <p:extLst>
              <p:ext uri="{D42A27DB-BD31-4B8C-83A1-F6EECF244321}">
                <p14:modId xmlns:p14="http://schemas.microsoft.com/office/powerpoint/2010/main" xmlns="" val="1227165609"/>
              </p:ext>
            </p:extLst>
          </p:nvPr>
        </p:nvGraphicFramePr>
        <p:xfrm>
          <a:off x="1588" y="1588"/>
          <a:ext cx="1588" cy="1588"/>
        </p:xfrm>
        <a:graphic>
          <a:graphicData uri="http://schemas.openxmlformats.org/presentationml/2006/ole">
            <p:oleObj spid="_x0000_s3074" name="think-cell Slide" r:id="rId4" imgW="360" imgH="360" progId="">
              <p:embed/>
            </p:oleObj>
          </a:graphicData>
        </a:graphic>
      </p:graphicFrame>
      <p:sp>
        <p:nvSpPr>
          <p:cNvPr id="3" name="Rectangle 2" hidden="1">
            <a:extLst>
              <a:ext uri="{FF2B5EF4-FFF2-40B4-BE49-F238E27FC236}">
                <a16:creationId xmlns:a16="http://schemas.microsoft.com/office/drawing/2014/main" xmlns="" id="{D4722B35-BD8A-43F1-B2FE-168431F6778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prstClr val="white"/>
              </a:solidFill>
              <a:effectLst/>
              <a:uLnTx/>
              <a:uFillTx/>
              <a:latin typeface="Arial (Header)"/>
              <a:ea typeface="+mn-ea"/>
              <a:cs typeface="+mn-cs"/>
              <a:sym typeface="Arial (Header)"/>
            </a:endParaRPr>
          </a:p>
        </p:txBody>
      </p:sp>
      <p:sp>
        <p:nvSpPr>
          <p:cNvPr id="2" name="Titel 1"/>
          <p:cNvSpPr>
            <a:spLocks noGrp="1"/>
          </p:cNvSpPr>
          <p:nvPr>
            <p:ph type="title" hasCustomPrompt="1"/>
          </p:nvPr>
        </p:nvSpPr>
        <p:spPr>
          <a:xfrm>
            <a:off x="695324" y="905438"/>
            <a:ext cx="10536675" cy="553998"/>
          </a:xfrm>
        </p:spPr>
        <p:txBody>
          <a:bodyPr vert="horz" wrap="square" lIns="0" tIns="0" rIns="0" bIns="0" rtlCol="0" anchor="t" anchorCtr="0">
            <a:spAutoFit/>
          </a:bodyPr>
          <a:lstStyle>
            <a:lvl1pPr>
              <a:defRPr lang="en-US" sz="4000" baseline="0" noProof="0" dirty="0">
                <a:solidFill>
                  <a:schemeClr val="accent1"/>
                </a:solidFill>
              </a:defRPr>
            </a:lvl1pPr>
          </a:lstStyle>
          <a:p>
            <a:pPr marL="0" lvl="0"/>
            <a:r>
              <a:rPr lang="en-US" noProof="0" dirty="0"/>
              <a:t>Click to add title</a:t>
            </a:r>
          </a:p>
        </p:txBody>
      </p:sp>
      <p:sp>
        <p:nvSpPr>
          <p:cNvPr id="7" name="Pladsholder til indhold 2"/>
          <p:cNvSpPr>
            <a:spLocks noGrp="1"/>
          </p:cNvSpPr>
          <p:nvPr>
            <p:ph idx="1" hasCustomPrompt="1"/>
          </p:nvPr>
        </p:nvSpPr>
        <p:spPr>
          <a:xfrm>
            <a:off x="695324" y="2057479"/>
            <a:ext cx="10536675" cy="3793483"/>
          </a:xfrm>
        </p:spPr>
        <p:txBody>
          <a:bodyPr lIns="0" tIns="0" rIns="0" bIns="0"/>
          <a:lstStyle>
            <a:lvl1pPr marL="252000" indent="-252000" algn="l" defTabSz="914400" rtl="0" eaLnBrk="1" latinLnBrk="0" hangingPunct="1">
              <a:lnSpc>
                <a:spcPct val="90000"/>
              </a:lnSpc>
              <a:buClr>
                <a:schemeClr val="accent2"/>
              </a:buClr>
              <a:buFont typeface="Arial" panose="020B0604020202020204" pitchFamily="34" charset="0"/>
              <a:buChar char="•"/>
              <a:defRPr lang="en-US" sz="2200" kern="1200" noProof="0" dirty="0">
                <a:solidFill>
                  <a:schemeClr val="accent1"/>
                </a:solidFill>
                <a:latin typeface="+mj-lt"/>
                <a:ea typeface="+mn-ea"/>
                <a:cs typeface="+mn-cs"/>
              </a:defRPr>
            </a:lvl1pPr>
            <a:lvl2pPr marL="574675" indent="-306388" algn="l" defTabSz="914400" rtl="0" eaLnBrk="1" latinLnBrk="0" hangingPunct="1">
              <a:lnSpc>
                <a:spcPct val="90000"/>
              </a:lnSpc>
              <a:buClr>
                <a:schemeClr val="accent2"/>
              </a:buClr>
              <a:buFont typeface="Arial" panose="020B0604020202020204" pitchFamily="34" charset="0"/>
              <a:buChar char="•"/>
              <a:defRPr lang="en-US" sz="2200" kern="1200" noProof="0" dirty="0">
                <a:solidFill>
                  <a:schemeClr val="accent1"/>
                </a:solidFill>
                <a:latin typeface="+mj-lt"/>
                <a:ea typeface="+mn-ea"/>
                <a:cs typeface="+mn-cs"/>
              </a:defRPr>
            </a:lvl2pPr>
            <a:lvl3pPr marL="864000" indent="-288000" algn="l" defTabSz="914400" rtl="0" eaLnBrk="1" latinLnBrk="0" hangingPunct="1">
              <a:lnSpc>
                <a:spcPct val="90000"/>
              </a:lnSpc>
              <a:buClr>
                <a:schemeClr val="accent2"/>
              </a:buClr>
              <a:buFont typeface="Arial" panose="020B0604020202020204" pitchFamily="34" charset="0"/>
              <a:buChar char="•"/>
              <a:defRPr lang="en-US" sz="2200" kern="1200" noProof="0" dirty="0">
                <a:solidFill>
                  <a:schemeClr val="accent1"/>
                </a:solidFill>
                <a:latin typeface="+mj-lt"/>
                <a:ea typeface="+mn-ea"/>
                <a:cs typeface="+mn-cs"/>
              </a:defRPr>
            </a:lvl3pPr>
            <a:lvl4pPr>
              <a:buClr>
                <a:srgbClr val="2BC4B6"/>
              </a:buClr>
              <a:defRPr/>
            </a:lvl4pPr>
            <a:lvl5pPr>
              <a:buClr>
                <a:srgbClr val="2BC4B6"/>
              </a:buClr>
              <a:defRPr/>
            </a:lvl5pPr>
          </a:lstStyle>
          <a:p>
            <a:pPr lvl="0"/>
            <a:r>
              <a:rPr lang="en-US" noProof="0" dirty="0"/>
              <a:t>Click to add text</a:t>
            </a:r>
          </a:p>
          <a:p>
            <a:pPr lvl="1"/>
            <a:r>
              <a:rPr lang="en-US" noProof="0" dirty="0"/>
              <a:t>Second level</a:t>
            </a:r>
          </a:p>
          <a:p>
            <a:pPr lvl="2"/>
            <a:r>
              <a:rPr lang="en-US" noProof="0" dirty="0"/>
              <a:t>Third level</a:t>
            </a:r>
          </a:p>
        </p:txBody>
      </p:sp>
      <p:sp>
        <p:nvSpPr>
          <p:cNvPr id="11" name="Text Placeholder 4"/>
          <p:cNvSpPr>
            <a:spLocks noGrp="1"/>
          </p:cNvSpPr>
          <p:nvPr>
            <p:ph type="body" sz="quarter" idx="14" hasCustomPrompt="1"/>
          </p:nvPr>
        </p:nvSpPr>
        <p:spPr>
          <a:xfrm>
            <a:off x="695325" y="1606108"/>
            <a:ext cx="10536238" cy="304699"/>
          </a:xfrm>
        </p:spPr>
        <p:txBody>
          <a:bodyPr lIns="0" tIns="0" rIns="0" bIns="0">
            <a:spAutoFit/>
          </a:bodyPr>
          <a:lstStyle>
            <a:lvl1pPr marL="0" indent="0">
              <a:buNone/>
              <a:defRPr sz="2200">
                <a:solidFill>
                  <a:schemeClr val="accent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8" name="Pladsholder til slidenummer 5">
            <a:extLst>
              <a:ext uri="{FF2B5EF4-FFF2-40B4-BE49-F238E27FC236}">
                <a16:creationId xmlns:a16="http://schemas.microsoft.com/office/drawing/2014/main" xmlns="" id="{AB64B8E1-D8B2-41CE-9792-B49DD34A7A61}"/>
              </a:ext>
            </a:extLst>
          </p:cNvPr>
          <p:cNvSpPr>
            <a:spLocks noGrp="1"/>
          </p:cNvSpPr>
          <p:nvPr>
            <p:ph type="sldNum" sz="quarter" idx="12"/>
          </p:nvPr>
        </p:nvSpPr>
        <p:spPr>
          <a:xfrm>
            <a:off x="11537357" y="6428806"/>
            <a:ext cx="176000" cy="153888"/>
          </a:xfrm>
          <a:prstGeom prst="rect">
            <a:avLst/>
          </a:prstGeom>
        </p:spPr>
        <p:txBody>
          <a:bodyPr/>
          <a:lstStyle>
            <a:lvl1pPr>
              <a:defRPr sz="1000">
                <a:solidFill>
                  <a:schemeClr val="accent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17CCCC7F-9621-A743-A701-E063ABC03BA8}" type="slidenum">
              <a:rPr kumimoji="0" lang="da-DK" sz="1000" b="1" i="0" u="none" strike="noStrike" kern="1200" cap="none" spc="0" normalizeH="0" baseline="0" noProof="0" smtClean="0">
                <a:ln>
                  <a:noFill/>
                </a:ln>
                <a:solidFill>
                  <a:srgbClr val="24405B"/>
                </a:solidFill>
                <a:effectLst/>
                <a:uLnTx/>
                <a:uFillTx/>
                <a:latin typeface="Arial (Body)"/>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da-DK" sz="1000" b="1" i="0" u="none" strike="noStrike" kern="1200" cap="none" spc="0" normalizeH="0" baseline="0" noProof="0" dirty="0">
              <a:ln>
                <a:noFill/>
              </a:ln>
              <a:solidFill>
                <a:srgbClr val="24405B"/>
              </a:solidFill>
              <a:effectLst/>
              <a:uLnTx/>
              <a:uFillTx/>
              <a:latin typeface="Arial (Body)"/>
              <a:ea typeface="+mn-ea"/>
              <a:cs typeface="+mn-cs"/>
            </a:endParaRPr>
          </a:p>
        </p:txBody>
      </p:sp>
    </p:spTree>
    <p:extLst>
      <p:ext uri="{BB962C8B-B14F-4D97-AF65-F5344CB8AC3E}">
        <p14:creationId xmlns:p14="http://schemas.microsoft.com/office/powerpoint/2010/main" xmlns="" val="2507732912"/>
      </p:ext>
    </p:extLst>
  </p:cSld>
  <p:clrMapOvr>
    <a:masterClrMapping/>
  </p:clrMapOvr>
  <p:extLst>
    <p:ext uri="{DCECCB84-F9BA-43D5-87BE-67443E8EF086}">
      <p15:sldGuideLst xmlns:p15="http://schemas.microsoft.com/office/powerpoint/2012/main" xmlns=""/>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A44B23B-874B-4D8B-AA22-696B80420277}"/>
              </a:ext>
            </a:extLst>
          </p:cNvPr>
          <p:cNvGraphicFramePr>
            <a:graphicFrameLocks noChangeAspect="1"/>
          </p:cNvGraphicFramePr>
          <p:nvPr userDrawn="1">
            <p:extLst>
              <p:ext uri="{D42A27DB-BD31-4B8C-83A1-F6EECF244321}">
                <p14:modId xmlns:p14="http://schemas.microsoft.com/office/powerpoint/2010/main" xmlns="" val="403118893"/>
              </p:ext>
            </p:extLst>
          </p:nvPr>
        </p:nvGraphicFramePr>
        <p:xfrm>
          <a:off x="1588" y="1588"/>
          <a:ext cx="1588" cy="1588"/>
        </p:xfrm>
        <a:graphic>
          <a:graphicData uri="http://schemas.openxmlformats.org/presentationml/2006/ole">
            <p:oleObj spid="_x0000_s1026" name="think-cell Slide" r:id="rId6" imgW="360" imgH="360" progId="">
              <p:embed/>
            </p:oleObj>
          </a:graphicData>
        </a:graphic>
      </p:graphicFrame>
      <p:sp>
        <p:nvSpPr>
          <p:cNvPr id="4" name="Rectangle 3" hidden="1">
            <a:extLst>
              <a:ext uri="{FF2B5EF4-FFF2-40B4-BE49-F238E27FC236}">
                <a16:creationId xmlns:a16="http://schemas.microsoft.com/office/drawing/2014/main" xmlns="" id="{0C961565-556E-4C7D-B97E-3162F13BCAA8}"/>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dirty="0">
              <a:ln>
                <a:noFill/>
              </a:ln>
              <a:solidFill>
                <a:prstClr val="white"/>
              </a:solidFill>
              <a:effectLst/>
              <a:uLnTx/>
              <a:uFillTx/>
              <a:latin typeface="Arial (Header)"/>
              <a:ea typeface="+mn-ea"/>
              <a:cs typeface="+mn-cs"/>
              <a:sym typeface="Arial (Header)"/>
            </a:endParaRPr>
          </a:p>
        </p:txBody>
      </p:sp>
      <p:sp>
        <p:nvSpPr>
          <p:cNvPr id="2" name="Pladsholder til titel 1"/>
          <p:cNvSpPr>
            <a:spLocks noGrp="1"/>
          </p:cNvSpPr>
          <p:nvPr>
            <p:ph type="title"/>
          </p:nvPr>
        </p:nvSpPr>
        <p:spPr>
          <a:xfrm>
            <a:off x="684000" y="1124057"/>
            <a:ext cx="10548000" cy="553998"/>
          </a:xfrm>
          <a:prstGeom prst="rect">
            <a:avLst/>
          </a:prstGeom>
        </p:spPr>
        <p:txBody>
          <a:bodyPr vert="horz" lIns="0" tIns="0" rIns="0" bIns="0" rtlCol="0" anchor="t" anchorCtr="0">
            <a:spAutoFit/>
          </a:bodyPr>
          <a:lstStyle/>
          <a:p>
            <a:r>
              <a:rPr lang="en-US" noProof="0" dirty="0" err="1"/>
              <a:t>Klik</a:t>
            </a:r>
            <a:r>
              <a:rPr lang="en-US" noProof="0" dirty="0"/>
              <a:t> for at </a:t>
            </a:r>
            <a:r>
              <a:rPr lang="en-US" noProof="0" dirty="0" err="1"/>
              <a:t>redigere</a:t>
            </a:r>
            <a:r>
              <a:rPr lang="en-US" noProof="0" dirty="0"/>
              <a:t> </a:t>
            </a:r>
            <a:r>
              <a:rPr lang="en-US" noProof="0" dirty="0" err="1"/>
              <a:t>i</a:t>
            </a:r>
            <a:r>
              <a:rPr lang="en-US" noProof="0" dirty="0"/>
              <a:t> </a:t>
            </a:r>
            <a:r>
              <a:rPr lang="en-US" noProof="0" dirty="0" err="1"/>
              <a:t>masteren</a:t>
            </a:r>
            <a:endParaRPr lang="en-US" noProof="0" dirty="0"/>
          </a:p>
        </p:txBody>
      </p:sp>
      <p:sp>
        <p:nvSpPr>
          <p:cNvPr id="3" name="Pladsholder til tekst 2"/>
          <p:cNvSpPr>
            <a:spLocks noGrp="1"/>
          </p:cNvSpPr>
          <p:nvPr>
            <p:ph type="body" idx="1"/>
          </p:nvPr>
        </p:nvSpPr>
        <p:spPr>
          <a:xfrm>
            <a:off x="684000" y="1944000"/>
            <a:ext cx="10515600" cy="4271743"/>
          </a:xfrm>
          <a:prstGeom prst="rect">
            <a:avLst/>
          </a:prstGeom>
        </p:spPr>
        <p:txBody>
          <a:bodyPr vert="horz" lIns="91440" tIns="45720" rIns="91440" bIns="45720" rtlCol="0">
            <a:noAutofit/>
          </a:bodyPr>
          <a:lstStyle/>
          <a:p>
            <a:pPr lvl="0"/>
            <a:r>
              <a:rPr lang="en-US" noProof="0" dirty="0" err="1"/>
              <a:t>Klik</a:t>
            </a:r>
            <a:r>
              <a:rPr lang="en-US" noProof="0" dirty="0"/>
              <a:t> for at </a:t>
            </a:r>
            <a:r>
              <a:rPr lang="en-US" noProof="0" dirty="0" err="1"/>
              <a:t>redigere</a:t>
            </a:r>
            <a:r>
              <a:rPr lang="en-US" noProof="0" dirty="0"/>
              <a:t> </a:t>
            </a:r>
            <a:r>
              <a:rPr lang="en-US" noProof="0" dirty="0" err="1"/>
              <a:t>teksttypografierne</a:t>
            </a:r>
            <a:r>
              <a:rPr lang="en-US" noProof="0" dirty="0"/>
              <a:t> </a:t>
            </a:r>
            <a:r>
              <a:rPr lang="en-US" noProof="0" dirty="0" err="1"/>
              <a:t>i</a:t>
            </a:r>
            <a:r>
              <a:rPr lang="en-US" noProof="0" dirty="0"/>
              <a:t> </a:t>
            </a:r>
            <a:r>
              <a:rPr lang="en-US" noProof="0" dirty="0" err="1"/>
              <a:t>masteren</a:t>
            </a:r>
            <a:endParaRPr lang="en-US" noProof="0" dirty="0"/>
          </a:p>
          <a:p>
            <a:pPr lvl="1"/>
            <a:r>
              <a:rPr lang="en-US" noProof="0" dirty="0" err="1"/>
              <a:t>Andet</a:t>
            </a:r>
            <a:r>
              <a:rPr lang="en-US" noProof="0" dirty="0"/>
              <a:t> </a:t>
            </a:r>
            <a:r>
              <a:rPr lang="en-US" noProof="0" dirty="0" err="1"/>
              <a:t>niveau</a:t>
            </a:r>
            <a:endParaRPr lang="en-US" noProof="0" dirty="0"/>
          </a:p>
          <a:p>
            <a:pPr lvl="2"/>
            <a:r>
              <a:rPr lang="en-US" noProof="0" dirty="0" err="1"/>
              <a:t>Tredje</a:t>
            </a:r>
            <a:r>
              <a:rPr lang="en-US" noProof="0" dirty="0"/>
              <a:t> </a:t>
            </a:r>
            <a:r>
              <a:rPr lang="en-US" noProof="0" dirty="0" err="1"/>
              <a:t>niveau</a:t>
            </a:r>
            <a:endParaRPr lang="en-US" noProof="0" dirty="0"/>
          </a:p>
          <a:p>
            <a:pPr lvl="3"/>
            <a:r>
              <a:rPr lang="en-US" noProof="0" dirty="0" err="1"/>
              <a:t>Fjerde</a:t>
            </a:r>
            <a:r>
              <a:rPr lang="en-US" noProof="0" dirty="0"/>
              <a:t> </a:t>
            </a:r>
            <a:r>
              <a:rPr lang="en-US" noProof="0" dirty="0" err="1"/>
              <a:t>niveau</a:t>
            </a:r>
            <a:endParaRPr lang="en-US" noProof="0" dirty="0"/>
          </a:p>
          <a:p>
            <a:pPr lvl="4"/>
            <a:r>
              <a:rPr lang="en-US" noProof="0" dirty="0" err="1"/>
              <a:t>Femte</a:t>
            </a:r>
            <a:r>
              <a:rPr lang="en-US" noProof="0" dirty="0"/>
              <a:t> </a:t>
            </a:r>
            <a:r>
              <a:rPr lang="en-US" noProof="0" dirty="0" err="1"/>
              <a:t>niveau</a:t>
            </a:r>
            <a:endParaRPr lang="en-US" noProof="0" dirty="0"/>
          </a:p>
        </p:txBody>
      </p:sp>
      <p:cxnSp>
        <p:nvCxnSpPr>
          <p:cNvPr id="14" name="Straight Connector 13">
            <a:extLst>
              <a:ext uri="{FF2B5EF4-FFF2-40B4-BE49-F238E27FC236}">
                <a16:creationId xmlns:a16="http://schemas.microsoft.com/office/drawing/2014/main" xmlns="" id="{DE4B3176-8120-495A-8623-1FB37D83C4D7}"/>
              </a:ext>
            </a:extLst>
          </p:cNvPr>
          <p:cNvCxnSpPr>
            <a:cxnSpLocks/>
          </p:cNvCxnSpPr>
          <p:nvPr userDrawn="1"/>
        </p:nvCxnSpPr>
        <p:spPr>
          <a:xfrm>
            <a:off x="684000" y="6505750"/>
            <a:ext cx="105480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7" name="Group 4">
            <a:extLst>
              <a:ext uri="{FF2B5EF4-FFF2-40B4-BE49-F238E27FC236}">
                <a16:creationId xmlns:a16="http://schemas.microsoft.com/office/drawing/2014/main" xmlns="" id="{DE06C37C-F10C-4D78-AFA8-4E35E4CF4564}"/>
              </a:ext>
            </a:extLst>
          </p:cNvPr>
          <p:cNvGrpSpPr>
            <a:grpSpLocks noChangeAspect="1"/>
          </p:cNvGrpSpPr>
          <p:nvPr userDrawn="1"/>
        </p:nvGrpSpPr>
        <p:grpSpPr bwMode="auto">
          <a:xfrm>
            <a:off x="10482058" y="314714"/>
            <a:ext cx="1298781" cy="266311"/>
            <a:chOff x="6145" y="289"/>
            <a:chExt cx="951" cy="195"/>
          </a:xfrm>
        </p:grpSpPr>
        <p:sp>
          <p:nvSpPr>
            <p:cNvPr id="18" name="Freeform 5">
              <a:extLst>
                <a:ext uri="{FF2B5EF4-FFF2-40B4-BE49-F238E27FC236}">
                  <a16:creationId xmlns:a16="http://schemas.microsoft.com/office/drawing/2014/main" xmlns="" id="{D64FD7B6-9502-4F90-8AA4-D7DC3C195EBC}"/>
                </a:ext>
              </a:extLst>
            </p:cNvPr>
            <p:cNvSpPr>
              <a:spLocks/>
            </p:cNvSpPr>
            <p:nvPr userDrawn="1"/>
          </p:nvSpPr>
          <p:spPr bwMode="auto">
            <a:xfrm>
              <a:off x="6886" y="346"/>
              <a:ext cx="116" cy="136"/>
            </a:xfrm>
            <a:custGeom>
              <a:avLst/>
              <a:gdLst>
                <a:gd name="T0" fmla="*/ 276 w 276"/>
                <a:gd name="T1" fmla="*/ 116 h 325"/>
                <a:gd name="T2" fmla="*/ 276 w 276"/>
                <a:gd name="T3" fmla="*/ 164 h 325"/>
                <a:gd name="T4" fmla="*/ 276 w 276"/>
                <a:gd name="T5" fmla="*/ 262 h 325"/>
                <a:gd name="T6" fmla="*/ 276 w 276"/>
                <a:gd name="T7" fmla="*/ 325 h 325"/>
                <a:gd name="T8" fmla="*/ 220 w 276"/>
                <a:gd name="T9" fmla="*/ 325 h 325"/>
                <a:gd name="T10" fmla="*/ 220 w 276"/>
                <a:gd name="T11" fmla="*/ 135 h 325"/>
                <a:gd name="T12" fmla="*/ 200 w 276"/>
                <a:gd name="T13" fmla="*/ 76 h 325"/>
                <a:gd name="T14" fmla="*/ 146 w 276"/>
                <a:gd name="T15" fmla="*/ 53 h 325"/>
                <a:gd name="T16" fmla="*/ 56 w 276"/>
                <a:gd name="T17" fmla="*/ 53 h 325"/>
                <a:gd name="T18" fmla="*/ 56 w 276"/>
                <a:gd name="T19" fmla="*/ 325 h 325"/>
                <a:gd name="T20" fmla="*/ 0 w 276"/>
                <a:gd name="T21" fmla="*/ 325 h 325"/>
                <a:gd name="T22" fmla="*/ 0 w 276"/>
                <a:gd name="T23" fmla="*/ 0 h 325"/>
                <a:gd name="T24" fmla="*/ 158 w 276"/>
                <a:gd name="T25" fmla="*/ 0 h 325"/>
                <a:gd name="T26" fmla="*/ 257 w 276"/>
                <a:gd name="T27" fmla="*/ 55 h 325"/>
                <a:gd name="T28" fmla="*/ 276 w 276"/>
                <a:gd name="T29" fmla="*/ 11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 h="325">
                  <a:moveTo>
                    <a:pt x="276" y="116"/>
                  </a:moveTo>
                  <a:cubicBezTo>
                    <a:pt x="276" y="132"/>
                    <a:pt x="276" y="148"/>
                    <a:pt x="276" y="164"/>
                  </a:cubicBezTo>
                  <a:cubicBezTo>
                    <a:pt x="276" y="197"/>
                    <a:pt x="276" y="229"/>
                    <a:pt x="276" y="262"/>
                  </a:cubicBezTo>
                  <a:cubicBezTo>
                    <a:pt x="276" y="283"/>
                    <a:pt x="276" y="304"/>
                    <a:pt x="276" y="325"/>
                  </a:cubicBezTo>
                  <a:cubicBezTo>
                    <a:pt x="220" y="325"/>
                    <a:pt x="220" y="325"/>
                    <a:pt x="220" y="325"/>
                  </a:cubicBezTo>
                  <a:cubicBezTo>
                    <a:pt x="220" y="135"/>
                    <a:pt x="220" y="135"/>
                    <a:pt x="220" y="135"/>
                  </a:cubicBezTo>
                  <a:cubicBezTo>
                    <a:pt x="220" y="111"/>
                    <a:pt x="213" y="92"/>
                    <a:pt x="200" y="76"/>
                  </a:cubicBezTo>
                  <a:cubicBezTo>
                    <a:pt x="187" y="60"/>
                    <a:pt x="169" y="53"/>
                    <a:pt x="146" y="53"/>
                  </a:cubicBezTo>
                  <a:cubicBezTo>
                    <a:pt x="56" y="53"/>
                    <a:pt x="56" y="53"/>
                    <a:pt x="56" y="53"/>
                  </a:cubicBezTo>
                  <a:cubicBezTo>
                    <a:pt x="56" y="325"/>
                    <a:pt x="56" y="325"/>
                    <a:pt x="56" y="325"/>
                  </a:cubicBezTo>
                  <a:cubicBezTo>
                    <a:pt x="0" y="325"/>
                    <a:pt x="0" y="325"/>
                    <a:pt x="0" y="325"/>
                  </a:cubicBezTo>
                  <a:cubicBezTo>
                    <a:pt x="0" y="0"/>
                    <a:pt x="0" y="0"/>
                    <a:pt x="0" y="0"/>
                  </a:cubicBezTo>
                  <a:cubicBezTo>
                    <a:pt x="158" y="0"/>
                    <a:pt x="158" y="0"/>
                    <a:pt x="158" y="0"/>
                  </a:cubicBezTo>
                  <a:cubicBezTo>
                    <a:pt x="200" y="0"/>
                    <a:pt x="236" y="18"/>
                    <a:pt x="257" y="55"/>
                  </a:cubicBezTo>
                  <a:cubicBezTo>
                    <a:pt x="268" y="73"/>
                    <a:pt x="275" y="95"/>
                    <a:pt x="276" y="116"/>
                  </a:cubicBezTo>
                  <a:close/>
                </a:path>
              </a:pathLst>
            </a:custGeom>
            <a:solidFill>
              <a:srgbClr val="2440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Body)"/>
                <a:ea typeface="+mn-ea"/>
                <a:cs typeface="+mn-cs"/>
              </a:endParaRPr>
            </a:p>
          </p:txBody>
        </p:sp>
        <p:sp>
          <p:nvSpPr>
            <p:cNvPr id="19" name="Freeform 6">
              <a:extLst>
                <a:ext uri="{FF2B5EF4-FFF2-40B4-BE49-F238E27FC236}">
                  <a16:creationId xmlns:a16="http://schemas.microsoft.com/office/drawing/2014/main" xmlns="" id="{057BBAB3-90A8-4737-A56E-1149E0AC3CC7}"/>
                </a:ext>
              </a:extLst>
            </p:cNvPr>
            <p:cNvSpPr>
              <a:spLocks/>
            </p:cNvSpPr>
            <p:nvPr userDrawn="1"/>
          </p:nvSpPr>
          <p:spPr bwMode="auto">
            <a:xfrm>
              <a:off x="6886" y="346"/>
              <a:ext cx="116" cy="136"/>
            </a:xfrm>
            <a:custGeom>
              <a:avLst/>
              <a:gdLst>
                <a:gd name="T0" fmla="*/ 276 w 276"/>
                <a:gd name="T1" fmla="*/ 116 h 325"/>
                <a:gd name="T2" fmla="*/ 276 w 276"/>
                <a:gd name="T3" fmla="*/ 164 h 325"/>
                <a:gd name="T4" fmla="*/ 276 w 276"/>
                <a:gd name="T5" fmla="*/ 262 h 325"/>
                <a:gd name="T6" fmla="*/ 276 w 276"/>
                <a:gd name="T7" fmla="*/ 325 h 325"/>
                <a:gd name="T8" fmla="*/ 220 w 276"/>
                <a:gd name="T9" fmla="*/ 325 h 325"/>
                <a:gd name="T10" fmla="*/ 220 w 276"/>
                <a:gd name="T11" fmla="*/ 135 h 325"/>
                <a:gd name="T12" fmla="*/ 200 w 276"/>
                <a:gd name="T13" fmla="*/ 76 h 325"/>
                <a:gd name="T14" fmla="*/ 146 w 276"/>
                <a:gd name="T15" fmla="*/ 53 h 325"/>
                <a:gd name="T16" fmla="*/ 56 w 276"/>
                <a:gd name="T17" fmla="*/ 53 h 325"/>
                <a:gd name="T18" fmla="*/ 56 w 276"/>
                <a:gd name="T19" fmla="*/ 325 h 325"/>
                <a:gd name="T20" fmla="*/ 0 w 276"/>
                <a:gd name="T21" fmla="*/ 325 h 325"/>
                <a:gd name="T22" fmla="*/ 0 w 276"/>
                <a:gd name="T23" fmla="*/ 0 h 325"/>
                <a:gd name="T24" fmla="*/ 158 w 276"/>
                <a:gd name="T25" fmla="*/ 0 h 325"/>
                <a:gd name="T26" fmla="*/ 257 w 276"/>
                <a:gd name="T27" fmla="*/ 55 h 325"/>
                <a:gd name="T28" fmla="*/ 276 w 276"/>
                <a:gd name="T29" fmla="*/ 11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6" h="325">
                  <a:moveTo>
                    <a:pt x="276" y="116"/>
                  </a:moveTo>
                  <a:cubicBezTo>
                    <a:pt x="276" y="132"/>
                    <a:pt x="276" y="148"/>
                    <a:pt x="276" y="164"/>
                  </a:cubicBezTo>
                  <a:cubicBezTo>
                    <a:pt x="276" y="197"/>
                    <a:pt x="276" y="229"/>
                    <a:pt x="276" y="262"/>
                  </a:cubicBezTo>
                  <a:cubicBezTo>
                    <a:pt x="276" y="283"/>
                    <a:pt x="276" y="304"/>
                    <a:pt x="276" y="325"/>
                  </a:cubicBezTo>
                  <a:cubicBezTo>
                    <a:pt x="220" y="325"/>
                    <a:pt x="220" y="325"/>
                    <a:pt x="220" y="325"/>
                  </a:cubicBezTo>
                  <a:cubicBezTo>
                    <a:pt x="220" y="135"/>
                    <a:pt x="220" y="135"/>
                    <a:pt x="220" y="135"/>
                  </a:cubicBezTo>
                  <a:cubicBezTo>
                    <a:pt x="220" y="111"/>
                    <a:pt x="213" y="92"/>
                    <a:pt x="200" y="76"/>
                  </a:cubicBezTo>
                  <a:cubicBezTo>
                    <a:pt x="187" y="60"/>
                    <a:pt x="169" y="53"/>
                    <a:pt x="146" y="53"/>
                  </a:cubicBezTo>
                  <a:cubicBezTo>
                    <a:pt x="56" y="53"/>
                    <a:pt x="56" y="53"/>
                    <a:pt x="56" y="53"/>
                  </a:cubicBezTo>
                  <a:cubicBezTo>
                    <a:pt x="56" y="325"/>
                    <a:pt x="56" y="325"/>
                    <a:pt x="56" y="325"/>
                  </a:cubicBezTo>
                  <a:cubicBezTo>
                    <a:pt x="0" y="325"/>
                    <a:pt x="0" y="325"/>
                    <a:pt x="0" y="325"/>
                  </a:cubicBezTo>
                  <a:cubicBezTo>
                    <a:pt x="0" y="0"/>
                    <a:pt x="0" y="0"/>
                    <a:pt x="0" y="0"/>
                  </a:cubicBezTo>
                  <a:cubicBezTo>
                    <a:pt x="158" y="0"/>
                    <a:pt x="158" y="0"/>
                    <a:pt x="158" y="0"/>
                  </a:cubicBezTo>
                  <a:cubicBezTo>
                    <a:pt x="200" y="0"/>
                    <a:pt x="236" y="18"/>
                    <a:pt x="257" y="55"/>
                  </a:cubicBezTo>
                  <a:cubicBezTo>
                    <a:pt x="268" y="73"/>
                    <a:pt x="275" y="95"/>
                    <a:pt x="276" y="116"/>
                  </a:cubicBezTo>
                  <a:close/>
                </a:path>
              </a:pathLst>
            </a:custGeom>
            <a:solidFill>
              <a:srgbClr val="2440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Body)"/>
                <a:ea typeface="+mn-ea"/>
                <a:cs typeface="+mn-cs"/>
              </a:endParaRPr>
            </a:p>
          </p:txBody>
        </p:sp>
        <p:sp>
          <p:nvSpPr>
            <p:cNvPr id="20" name="Freeform 7">
              <a:extLst>
                <a:ext uri="{FF2B5EF4-FFF2-40B4-BE49-F238E27FC236}">
                  <a16:creationId xmlns:a16="http://schemas.microsoft.com/office/drawing/2014/main" xmlns="" id="{C955D582-0F8B-4018-A28F-082B3ED808AF}"/>
                </a:ext>
              </a:extLst>
            </p:cNvPr>
            <p:cNvSpPr>
              <a:spLocks/>
            </p:cNvSpPr>
            <p:nvPr userDrawn="1"/>
          </p:nvSpPr>
          <p:spPr bwMode="auto">
            <a:xfrm>
              <a:off x="6495" y="345"/>
              <a:ext cx="200" cy="138"/>
            </a:xfrm>
            <a:custGeom>
              <a:avLst/>
              <a:gdLst>
                <a:gd name="T0" fmla="*/ 265 w 476"/>
                <a:gd name="T1" fmla="*/ 137 h 330"/>
                <a:gd name="T2" fmla="*/ 265 w 476"/>
                <a:gd name="T3" fmla="*/ 330 h 330"/>
                <a:gd name="T4" fmla="*/ 209 w 476"/>
                <a:gd name="T5" fmla="*/ 330 h 330"/>
                <a:gd name="T6" fmla="*/ 209 w 476"/>
                <a:gd name="T7" fmla="*/ 140 h 330"/>
                <a:gd name="T8" fmla="*/ 190 w 476"/>
                <a:gd name="T9" fmla="*/ 81 h 330"/>
                <a:gd name="T10" fmla="*/ 135 w 476"/>
                <a:gd name="T11" fmla="*/ 58 h 330"/>
                <a:gd name="T12" fmla="*/ 56 w 476"/>
                <a:gd name="T13" fmla="*/ 58 h 330"/>
                <a:gd name="T14" fmla="*/ 56 w 476"/>
                <a:gd name="T15" fmla="*/ 330 h 330"/>
                <a:gd name="T16" fmla="*/ 0 w 476"/>
                <a:gd name="T17" fmla="*/ 330 h 330"/>
                <a:gd name="T18" fmla="*/ 0 w 476"/>
                <a:gd name="T19" fmla="*/ 5 h 330"/>
                <a:gd name="T20" fmla="*/ 147 w 476"/>
                <a:gd name="T21" fmla="*/ 5 h 330"/>
                <a:gd name="T22" fmla="*/ 204 w 476"/>
                <a:gd name="T23" fmla="*/ 18 h 330"/>
                <a:gd name="T24" fmla="*/ 244 w 476"/>
                <a:gd name="T25" fmla="*/ 56 h 330"/>
                <a:gd name="T26" fmla="*/ 269 w 476"/>
                <a:gd name="T27" fmla="*/ 29 h 330"/>
                <a:gd name="T28" fmla="*/ 298 w 476"/>
                <a:gd name="T29" fmla="*/ 12 h 330"/>
                <a:gd name="T30" fmla="*/ 327 w 476"/>
                <a:gd name="T31" fmla="*/ 3 h 330"/>
                <a:gd name="T32" fmla="*/ 354 w 476"/>
                <a:gd name="T33" fmla="*/ 0 h 330"/>
                <a:gd name="T34" fmla="*/ 405 w 476"/>
                <a:gd name="T35" fmla="*/ 10 h 330"/>
                <a:gd name="T36" fmla="*/ 443 w 476"/>
                <a:gd name="T37" fmla="*/ 36 h 330"/>
                <a:gd name="T38" fmla="*/ 468 w 476"/>
                <a:gd name="T39" fmla="*/ 77 h 330"/>
                <a:gd name="T40" fmla="*/ 476 w 476"/>
                <a:gd name="T41" fmla="*/ 132 h 330"/>
                <a:gd name="T42" fmla="*/ 476 w 476"/>
                <a:gd name="T43" fmla="*/ 330 h 330"/>
                <a:gd name="T44" fmla="*/ 420 w 476"/>
                <a:gd name="T45" fmla="*/ 330 h 330"/>
                <a:gd name="T46" fmla="*/ 420 w 476"/>
                <a:gd name="T47" fmla="*/ 135 h 330"/>
                <a:gd name="T48" fmla="*/ 420 w 476"/>
                <a:gd name="T49" fmla="*/ 136 h 330"/>
                <a:gd name="T50" fmla="*/ 399 w 476"/>
                <a:gd name="T51" fmla="*/ 77 h 330"/>
                <a:gd name="T52" fmla="*/ 345 w 476"/>
                <a:gd name="T53" fmla="*/ 54 h 330"/>
                <a:gd name="T54" fmla="*/ 294 w 476"/>
                <a:gd name="T55" fmla="*/ 71 h 330"/>
                <a:gd name="T56" fmla="*/ 269 w 476"/>
                <a:gd name="T57" fmla="*/ 107 h 330"/>
                <a:gd name="T58" fmla="*/ 265 w 476"/>
                <a:gd name="T59" fmla="*/ 13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330">
                  <a:moveTo>
                    <a:pt x="265" y="137"/>
                  </a:moveTo>
                  <a:cubicBezTo>
                    <a:pt x="265" y="330"/>
                    <a:pt x="265" y="330"/>
                    <a:pt x="265" y="330"/>
                  </a:cubicBezTo>
                  <a:cubicBezTo>
                    <a:pt x="209" y="330"/>
                    <a:pt x="209" y="330"/>
                    <a:pt x="209" y="330"/>
                  </a:cubicBezTo>
                  <a:cubicBezTo>
                    <a:pt x="209" y="140"/>
                    <a:pt x="209" y="140"/>
                    <a:pt x="209" y="140"/>
                  </a:cubicBezTo>
                  <a:cubicBezTo>
                    <a:pt x="209" y="116"/>
                    <a:pt x="203" y="97"/>
                    <a:pt x="190" y="81"/>
                  </a:cubicBezTo>
                  <a:cubicBezTo>
                    <a:pt x="177" y="65"/>
                    <a:pt x="158" y="58"/>
                    <a:pt x="135" y="58"/>
                  </a:cubicBezTo>
                  <a:cubicBezTo>
                    <a:pt x="56" y="58"/>
                    <a:pt x="56" y="58"/>
                    <a:pt x="56" y="58"/>
                  </a:cubicBezTo>
                  <a:cubicBezTo>
                    <a:pt x="56" y="330"/>
                    <a:pt x="56" y="330"/>
                    <a:pt x="56" y="330"/>
                  </a:cubicBezTo>
                  <a:cubicBezTo>
                    <a:pt x="0" y="330"/>
                    <a:pt x="0" y="330"/>
                    <a:pt x="0" y="330"/>
                  </a:cubicBezTo>
                  <a:cubicBezTo>
                    <a:pt x="0" y="5"/>
                    <a:pt x="0" y="5"/>
                    <a:pt x="0" y="5"/>
                  </a:cubicBezTo>
                  <a:cubicBezTo>
                    <a:pt x="147" y="5"/>
                    <a:pt x="147" y="5"/>
                    <a:pt x="147" y="5"/>
                  </a:cubicBezTo>
                  <a:cubicBezTo>
                    <a:pt x="169" y="5"/>
                    <a:pt x="188" y="9"/>
                    <a:pt x="204" y="18"/>
                  </a:cubicBezTo>
                  <a:cubicBezTo>
                    <a:pt x="220" y="28"/>
                    <a:pt x="234" y="40"/>
                    <a:pt x="244" y="56"/>
                  </a:cubicBezTo>
                  <a:cubicBezTo>
                    <a:pt x="251" y="45"/>
                    <a:pt x="260" y="36"/>
                    <a:pt x="269" y="29"/>
                  </a:cubicBezTo>
                  <a:cubicBezTo>
                    <a:pt x="278" y="22"/>
                    <a:pt x="288" y="16"/>
                    <a:pt x="298" y="12"/>
                  </a:cubicBezTo>
                  <a:cubicBezTo>
                    <a:pt x="307" y="8"/>
                    <a:pt x="317" y="5"/>
                    <a:pt x="327" y="3"/>
                  </a:cubicBezTo>
                  <a:cubicBezTo>
                    <a:pt x="337" y="1"/>
                    <a:pt x="346" y="0"/>
                    <a:pt x="354" y="0"/>
                  </a:cubicBezTo>
                  <a:cubicBezTo>
                    <a:pt x="373" y="0"/>
                    <a:pt x="390" y="4"/>
                    <a:pt x="405" y="10"/>
                  </a:cubicBezTo>
                  <a:cubicBezTo>
                    <a:pt x="420" y="17"/>
                    <a:pt x="433" y="25"/>
                    <a:pt x="443" y="36"/>
                  </a:cubicBezTo>
                  <a:cubicBezTo>
                    <a:pt x="454" y="47"/>
                    <a:pt x="462" y="61"/>
                    <a:pt x="468" y="77"/>
                  </a:cubicBezTo>
                  <a:cubicBezTo>
                    <a:pt x="473" y="93"/>
                    <a:pt x="476" y="112"/>
                    <a:pt x="476" y="132"/>
                  </a:cubicBezTo>
                  <a:cubicBezTo>
                    <a:pt x="476" y="330"/>
                    <a:pt x="476" y="330"/>
                    <a:pt x="476" y="330"/>
                  </a:cubicBezTo>
                  <a:cubicBezTo>
                    <a:pt x="420" y="330"/>
                    <a:pt x="420" y="330"/>
                    <a:pt x="420" y="330"/>
                  </a:cubicBezTo>
                  <a:cubicBezTo>
                    <a:pt x="420" y="135"/>
                    <a:pt x="420" y="135"/>
                    <a:pt x="420" y="135"/>
                  </a:cubicBezTo>
                  <a:cubicBezTo>
                    <a:pt x="420" y="136"/>
                    <a:pt x="420" y="136"/>
                    <a:pt x="420" y="136"/>
                  </a:cubicBezTo>
                  <a:cubicBezTo>
                    <a:pt x="420" y="116"/>
                    <a:pt x="412" y="93"/>
                    <a:pt x="399" y="77"/>
                  </a:cubicBezTo>
                  <a:cubicBezTo>
                    <a:pt x="386" y="61"/>
                    <a:pt x="368" y="54"/>
                    <a:pt x="345" y="54"/>
                  </a:cubicBezTo>
                  <a:cubicBezTo>
                    <a:pt x="324" y="54"/>
                    <a:pt x="307" y="59"/>
                    <a:pt x="294" y="71"/>
                  </a:cubicBezTo>
                  <a:cubicBezTo>
                    <a:pt x="283" y="80"/>
                    <a:pt x="274" y="92"/>
                    <a:pt x="269" y="107"/>
                  </a:cubicBezTo>
                  <a:cubicBezTo>
                    <a:pt x="265" y="120"/>
                    <a:pt x="265" y="137"/>
                    <a:pt x="265" y="137"/>
                  </a:cubicBezTo>
                  <a:close/>
                </a:path>
              </a:pathLst>
            </a:custGeom>
            <a:solidFill>
              <a:srgbClr val="2440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Body)"/>
                <a:ea typeface="+mn-ea"/>
                <a:cs typeface="+mn-cs"/>
              </a:endParaRPr>
            </a:p>
          </p:txBody>
        </p:sp>
        <p:sp>
          <p:nvSpPr>
            <p:cNvPr id="21" name="Freeform 8">
              <a:extLst>
                <a:ext uri="{FF2B5EF4-FFF2-40B4-BE49-F238E27FC236}">
                  <a16:creationId xmlns:a16="http://schemas.microsoft.com/office/drawing/2014/main" xmlns="" id="{0330E302-4A7E-4254-99C9-C8093C25FCDA}"/>
                </a:ext>
              </a:extLst>
            </p:cNvPr>
            <p:cNvSpPr>
              <a:spLocks noEditPoints="1"/>
            </p:cNvSpPr>
            <p:nvPr userDrawn="1"/>
          </p:nvSpPr>
          <p:spPr bwMode="auto">
            <a:xfrm>
              <a:off x="6717" y="344"/>
              <a:ext cx="137" cy="140"/>
            </a:xfrm>
            <a:custGeom>
              <a:avLst/>
              <a:gdLst>
                <a:gd name="T0" fmla="*/ 223 w 326"/>
                <a:gd name="T1" fmla="*/ 326 h 335"/>
                <a:gd name="T2" fmla="*/ 167 w 326"/>
                <a:gd name="T3" fmla="*/ 335 h 335"/>
                <a:gd name="T4" fmla="*/ 100 w 326"/>
                <a:gd name="T5" fmla="*/ 322 h 335"/>
                <a:gd name="T6" fmla="*/ 48 w 326"/>
                <a:gd name="T7" fmla="*/ 287 h 335"/>
                <a:gd name="T8" fmla="*/ 13 w 326"/>
                <a:gd name="T9" fmla="*/ 234 h 335"/>
                <a:gd name="T10" fmla="*/ 0 w 326"/>
                <a:gd name="T11" fmla="*/ 168 h 335"/>
                <a:gd name="T12" fmla="*/ 13 w 326"/>
                <a:gd name="T13" fmla="*/ 101 h 335"/>
                <a:gd name="T14" fmla="*/ 48 w 326"/>
                <a:gd name="T15" fmla="*/ 48 h 335"/>
                <a:gd name="T16" fmla="*/ 100 w 326"/>
                <a:gd name="T17" fmla="*/ 13 h 335"/>
                <a:gd name="T18" fmla="*/ 167 w 326"/>
                <a:gd name="T19" fmla="*/ 0 h 335"/>
                <a:gd name="T20" fmla="*/ 223 w 326"/>
                <a:gd name="T21" fmla="*/ 9 h 335"/>
                <a:gd name="T22" fmla="*/ 270 w 326"/>
                <a:gd name="T23" fmla="*/ 37 h 335"/>
                <a:gd name="T24" fmla="*/ 270 w 326"/>
                <a:gd name="T25" fmla="*/ 5 h 335"/>
                <a:gd name="T26" fmla="*/ 326 w 326"/>
                <a:gd name="T27" fmla="*/ 5 h 335"/>
                <a:gd name="T28" fmla="*/ 326 w 326"/>
                <a:gd name="T29" fmla="*/ 330 h 335"/>
                <a:gd name="T30" fmla="*/ 270 w 326"/>
                <a:gd name="T31" fmla="*/ 330 h 335"/>
                <a:gd name="T32" fmla="*/ 270 w 326"/>
                <a:gd name="T33" fmla="*/ 298 h 335"/>
                <a:gd name="T34" fmla="*/ 223 w 326"/>
                <a:gd name="T35" fmla="*/ 326 h 335"/>
                <a:gd name="T36" fmla="*/ 59 w 326"/>
                <a:gd name="T37" fmla="*/ 168 h 335"/>
                <a:gd name="T38" fmla="*/ 67 w 326"/>
                <a:gd name="T39" fmla="*/ 212 h 335"/>
                <a:gd name="T40" fmla="*/ 89 w 326"/>
                <a:gd name="T41" fmla="*/ 249 h 335"/>
                <a:gd name="T42" fmla="*/ 124 w 326"/>
                <a:gd name="T43" fmla="*/ 273 h 335"/>
                <a:gd name="T44" fmla="*/ 167 w 326"/>
                <a:gd name="T45" fmla="*/ 281 h 335"/>
                <a:gd name="T46" fmla="*/ 229 w 326"/>
                <a:gd name="T47" fmla="*/ 266 h 335"/>
                <a:gd name="T48" fmla="*/ 270 w 326"/>
                <a:gd name="T49" fmla="*/ 229 h 335"/>
                <a:gd name="T50" fmla="*/ 270 w 326"/>
                <a:gd name="T51" fmla="*/ 104 h 335"/>
                <a:gd name="T52" fmla="*/ 229 w 326"/>
                <a:gd name="T53" fmla="*/ 67 h 335"/>
                <a:gd name="T54" fmla="*/ 167 w 326"/>
                <a:gd name="T55" fmla="*/ 52 h 335"/>
                <a:gd name="T56" fmla="*/ 124 w 326"/>
                <a:gd name="T57" fmla="*/ 61 h 335"/>
                <a:gd name="T58" fmla="*/ 89 w 326"/>
                <a:gd name="T59" fmla="*/ 85 h 335"/>
                <a:gd name="T60" fmla="*/ 67 w 326"/>
                <a:gd name="T61" fmla="*/ 122 h 335"/>
                <a:gd name="T62" fmla="*/ 59 w 326"/>
                <a:gd name="T63" fmla="*/ 16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6" h="335">
                  <a:moveTo>
                    <a:pt x="223" y="326"/>
                  </a:moveTo>
                  <a:cubicBezTo>
                    <a:pt x="206" y="332"/>
                    <a:pt x="187" y="335"/>
                    <a:pt x="167" y="335"/>
                  </a:cubicBezTo>
                  <a:cubicBezTo>
                    <a:pt x="143" y="335"/>
                    <a:pt x="121" y="331"/>
                    <a:pt x="100" y="322"/>
                  </a:cubicBezTo>
                  <a:cubicBezTo>
                    <a:pt x="80" y="314"/>
                    <a:pt x="63" y="302"/>
                    <a:pt x="48" y="287"/>
                  </a:cubicBezTo>
                  <a:cubicBezTo>
                    <a:pt x="33" y="272"/>
                    <a:pt x="21" y="255"/>
                    <a:pt x="13" y="234"/>
                  </a:cubicBezTo>
                  <a:cubicBezTo>
                    <a:pt x="4" y="213"/>
                    <a:pt x="0" y="191"/>
                    <a:pt x="0" y="168"/>
                  </a:cubicBezTo>
                  <a:cubicBezTo>
                    <a:pt x="0" y="144"/>
                    <a:pt x="4" y="122"/>
                    <a:pt x="13" y="101"/>
                  </a:cubicBezTo>
                  <a:cubicBezTo>
                    <a:pt x="21" y="80"/>
                    <a:pt x="33" y="63"/>
                    <a:pt x="48" y="48"/>
                  </a:cubicBezTo>
                  <a:cubicBezTo>
                    <a:pt x="63" y="33"/>
                    <a:pt x="80" y="21"/>
                    <a:pt x="100" y="13"/>
                  </a:cubicBezTo>
                  <a:cubicBezTo>
                    <a:pt x="121" y="4"/>
                    <a:pt x="143" y="0"/>
                    <a:pt x="167" y="0"/>
                  </a:cubicBezTo>
                  <a:cubicBezTo>
                    <a:pt x="187" y="0"/>
                    <a:pt x="206" y="3"/>
                    <a:pt x="223" y="9"/>
                  </a:cubicBezTo>
                  <a:cubicBezTo>
                    <a:pt x="241" y="16"/>
                    <a:pt x="257" y="25"/>
                    <a:pt x="270" y="37"/>
                  </a:cubicBezTo>
                  <a:cubicBezTo>
                    <a:pt x="270" y="5"/>
                    <a:pt x="270" y="5"/>
                    <a:pt x="270" y="5"/>
                  </a:cubicBezTo>
                  <a:cubicBezTo>
                    <a:pt x="326" y="5"/>
                    <a:pt x="326" y="5"/>
                    <a:pt x="326" y="5"/>
                  </a:cubicBezTo>
                  <a:cubicBezTo>
                    <a:pt x="326" y="330"/>
                    <a:pt x="326" y="330"/>
                    <a:pt x="326" y="330"/>
                  </a:cubicBezTo>
                  <a:cubicBezTo>
                    <a:pt x="270" y="330"/>
                    <a:pt x="270" y="330"/>
                    <a:pt x="270" y="330"/>
                  </a:cubicBezTo>
                  <a:cubicBezTo>
                    <a:pt x="270" y="298"/>
                    <a:pt x="270" y="298"/>
                    <a:pt x="270" y="298"/>
                  </a:cubicBezTo>
                  <a:cubicBezTo>
                    <a:pt x="257" y="310"/>
                    <a:pt x="241" y="319"/>
                    <a:pt x="223" y="326"/>
                  </a:cubicBezTo>
                  <a:close/>
                  <a:moveTo>
                    <a:pt x="59" y="168"/>
                  </a:moveTo>
                  <a:cubicBezTo>
                    <a:pt x="59" y="183"/>
                    <a:pt x="61" y="198"/>
                    <a:pt x="67" y="212"/>
                  </a:cubicBezTo>
                  <a:cubicBezTo>
                    <a:pt x="72" y="226"/>
                    <a:pt x="80" y="238"/>
                    <a:pt x="89" y="249"/>
                  </a:cubicBezTo>
                  <a:cubicBezTo>
                    <a:pt x="99" y="259"/>
                    <a:pt x="111" y="267"/>
                    <a:pt x="124" y="273"/>
                  </a:cubicBezTo>
                  <a:cubicBezTo>
                    <a:pt x="137" y="279"/>
                    <a:pt x="151" y="281"/>
                    <a:pt x="167" y="281"/>
                  </a:cubicBezTo>
                  <a:cubicBezTo>
                    <a:pt x="191" y="281"/>
                    <a:pt x="211" y="276"/>
                    <a:pt x="229" y="266"/>
                  </a:cubicBezTo>
                  <a:cubicBezTo>
                    <a:pt x="246" y="257"/>
                    <a:pt x="260" y="244"/>
                    <a:pt x="270" y="229"/>
                  </a:cubicBezTo>
                  <a:cubicBezTo>
                    <a:pt x="270" y="104"/>
                    <a:pt x="270" y="104"/>
                    <a:pt x="270" y="104"/>
                  </a:cubicBezTo>
                  <a:cubicBezTo>
                    <a:pt x="260" y="89"/>
                    <a:pt x="246" y="77"/>
                    <a:pt x="229" y="67"/>
                  </a:cubicBezTo>
                  <a:cubicBezTo>
                    <a:pt x="211" y="58"/>
                    <a:pt x="191" y="52"/>
                    <a:pt x="167" y="52"/>
                  </a:cubicBezTo>
                  <a:cubicBezTo>
                    <a:pt x="151" y="52"/>
                    <a:pt x="137" y="55"/>
                    <a:pt x="124" y="61"/>
                  </a:cubicBezTo>
                  <a:cubicBezTo>
                    <a:pt x="111" y="67"/>
                    <a:pt x="99" y="75"/>
                    <a:pt x="89" y="85"/>
                  </a:cubicBezTo>
                  <a:cubicBezTo>
                    <a:pt x="80" y="95"/>
                    <a:pt x="72" y="108"/>
                    <a:pt x="67" y="122"/>
                  </a:cubicBezTo>
                  <a:cubicBezTo>
                    <a:pt x="61" y="136"/>
                    <a:pt x="59" y="151"/>
                    <a:pt x="59" y="168"/>
                  </a:cubicBezTo>
                  <a:close/>
                </a:path>
              </a:pathLst>
            </a:custGeom>
            <a:solidFill>
              <a:srgbClr val="2440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Body)"/>
                <a:ea typeface="+mn-ea"/>
                <a:cs typeface="+mn-cs"/>
              </a:endParaRPr>
            </a:p>
          </p:txBody>
        </p:sp>
        <p:sp>
          <p:nvSpPr>
            <p:cNvPr id="22" name="Freeform 9">
              <a:extLst>
                <a:ext uri="{FF2B5EF4-FFF2-40B4-BE49-F238E27FC236}">
                  <a16:creationId xmlns:a16="http://schemas.microsoft.com/office/drawing/2014/main" xmlns="" id="{C625739C-68BF-481A-B27E-0296AF654DA5}"/>
                </a:ext>
              </a:extLst>
            </p:cNvPr>
            <p:cNvSpPr>
              <a:spLocks/>
            </p:cNvSpPr>
            <p:nvPr userDrawn="1"/>
          </p:nvSpPr>
          <p:spPr bwMode="auto">
            <a:xfrm>
              <a:off x="7032" y="305"/>
              <a:ext cx="64" cy="177"/>
            </a:xfrm>
            <a:custGeom>
              <a:avLst/>
              <a:gdLst>
                <a:gd name="T0" fmla="*/ 0 w 154"/>
                <a:gd name="T1" fmla="*/ 98 h 423"/>
                <a:gd name="T2" fmla="*/ 0 w 154"/>
                <a:gd name="T3" fmla="*/ 28 h 423"/>
                <a:gd name="T4" fmla="*/ 56 w 154"/>
                <a:gd name="T5" fmla="*/ 0 h 423"/>
                <a:gd name="T6" fmla="*/ 56 w 154"/>
                <a:gd name="T7" fmla="*/ 97 h 423"/>
                <a:gd name="T8" fmla="*/ 154 w 154"/>
                <a:gd name="T9" fmla="*/ 97 h 423"/>
                <a:gd name="T10" fmla="*/ 142 w 154"/>
                <a:gd name="T11" fmla="*/ 148 h 423"/>
                <a:gd name="T12" fmla="*/ 56 w 154"/>
                <a:gd name="T13" fmla="*/ 148 h 423"/>
                <a:gd name="T14" fmla="*/ 56 w 154"/>
                <a:gd name="T15" fmla="*/ 320 h 423"/>
                <a:gd name="T16" fmla="*/ 66 w 154"/>
                <a:gd name="T17" fmla="*/ 358 h 423"/>
                <a:gd name="T18" fmla="*/ 104 w 154"/>
                <a:gd name="T19" fmla="*/ 372 h 423"/>
                <a:gd name="T20" fmla="*/ 147 w 154"/>
                <a:gd name="T21" fmla="*/ 372 h 423"/>
                <a:gd name="T22" fmla="*/ 147 w 154"/>
                <a:gd name="T23" fmla="*/ 423 h 423"/>
                <a:gd name="T24" fmla="*/ 98 w 154"/>
                <a:gd name="T25" fmla="*/ 423 h 423"/>
                <a:gd name="T26" fmla="*/ 26 w 154"/>
                <a:gd name="T27" fmla="*/ 399 h 423"/>
                <a:gd name="T28" fmla="*/ 0 w 154"/>
                <a:gd name="T29" fmla="*/ 329 h 423"/>
                <a:gd name="T30" fmla="*/ 0 w 154"/>
                <a:gd name="T31" fmla="*/ 149 h 423"/>
                <a:gd name="T32" fmla="*/ 0 w 154"/>
                <a:gd name="T33" fmla="*/ 98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423">
                  <a:moveTo>
                    <a:pt x="0" y="98"/>
                  </a:moveTo>
                  <a:cubicBezTo>
                    <a:pt x="0" y="28"/>
                    <a:pt x="0" y="28"/>
                    <a:pt x="0" y="28"/>
                  </a:cubicBezTo>
                  <a:cubicBezTo>
                    <a:pt x="56" y="0"/>
                    <a:pt x="56" y="0"/>
                    <a:pt x="56" y="0"/>
                  </a:cubicBezTo>
                  <a:cubicBezTo>
                    <a:pt x="56" y="97"/>
                    <a:pt x="56" y="97"/>
                    <a:pt x="56" y="97"/>
                  </a:cubicBezTo>
                  <a:cubicBezTo>
                    <a:pt x="154" y="97"/>
                    <a:pt x="154" y="97"/>
                    <a:pt x="154" y="97"/>
                  </a:cubicBezTo>
                  <a:cubicBezTo>
                    <a:pt x="142" y="148"/>
                    <a:pt x="142" y="148"/>
                    <a:pt x="142" y="148"/>
                  </a:cubicBezTo>
                  <a:cubicBezTo>
                    <a:pt x="56" y="148"/>
                    <a:pt x="56" y="148"/>
                    <a:pt x="56" y="148"/>
                  </a:cubicBezTo>
                  <a:cubicBezTo>
                    <a:pt x="56" y="320"/>
                    <a:pt x="56" y="320"/>
                    <a:pt x="56" y="320"/>
                  </a:cubicBezTo>
                  <a:cubicBezTo>
                    <a:pt x="56" y="336"/>
                    <a:pt x="59" y="349"/>
                    <a:pt x="66" y="358"/>
                  </a:cubicBezTo>
                  <a:cubicBezTo>
                    <a:pt x="73" y="367"/>
                    <a:pt x="86" y="372"/>
                    <a:pt x="104" y="372"/>
                  </a:cubicBezTo>
                  <a:cubicBezTo>
                    <a:pt x="147" y="372"/>
                    <a:pt x="147" y="372"/>
                    <a:pt x="147" y="372"/>
                  </a:cubicBezTo>
                  <a:cubicBezTo>
                    <a:pt x="147" y="423"/>
                    <a:pt x="147" y="423"/>
                    <a:pt x="147" y="423"/>
                  </a:cubicBezTo>
                  <a:cubicBezTo>
                    <a:pt x="98" y="423"/>
                    <a:pt x="98" y="423"/>
                    <a:pt x="98" y="423"/>
                  </a:cubicBezTo>
                  <a:cubicBezTo>
                    <a:pt x="67" y="423"/>
                    <a:pt x="43" y="415"/>
                    <a:pt x="26" y="399"/>
                  </a:cubicBezTo>
                  <a:cubicBezTo>
                    <a:pt x="9" y="384"/>
                    <a:pt x="0" y="360"/>
                    <a:pt x="0" y="329"/>
                  </a:cubicBezTo>
                  <a:cubicBezTo>
                    <a:pt x="0" y="149"/>
                    <a:pt x="0" y="149"/>
                    <a:pt x="0" y="149"/>
                  </a:cubicBezTo>
                  <a:lnTo>
                    <a:pt x="0" y="98"/>
                  </a:lnTo>
                  <a:close/>
                </a:path>
              </a:pathLst>
            </a:custGeom>
            <a:solidFill>
              <a:srgbClr val="2440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Body)"/>
                <a:ea typeface="+mn-ea"/>
                <a:cs typeface="+mn-cs"/>
              </a:endParaRPr>
            </a:p>
          </p:txBody>
        </p:sp>
        <p:sp>
          <p:nvSpPr>
            <p:cNvPr id="23" name="Freeform 10">
              <a:extLst>
                <a:ext uri="{FF2B5EF4-FFF2-40B4-BE49-F238E27FC236}">
                  <a16:creationId xmlns:a16="http://schemas.microsoft.com/office/drawing/2014/main" xmlns="" id="{1C3BB174-2CC8-4922-97A6-C0460FDDA444}"/>
                </a:ext>
              </a:extLst>
            </p:cNvPr>
            <p:cNvSpPr>
              <a:spLocks noEditPoints="1"/>
            </p:cNvSpPr>
            <p:nvPr userDrawn="1"/>
          </p:nvSpPr>
          <p:spPr bwMode="auto">
            <a:xfrm>
              <a:off x="6336" y="343"/>
              <a:ext cx="134" cy="141"/>
            </a:xfrm>
            <a:custGeom>
              <a:avLst/>
              <a:gdLst>
                <a:gd name="T0" fmla="*/ 320 w 320"/>
                <a:gd name="T1" fmla="*/ 161 h 334"/>
                <a:gd name="T2" fmla="*/ 167 w 320"/>
                <a:gd name="T3" fmla="*/ 0 h 334"/>
                <a:gd name="T4" fmla="*/ 0 w 320"/>
                <a:gd name="T5" fmla="*/ 167 h 334"/>
                <a:gd name="T6" fmla="*/ 167 w 320"/>
                <a:gd name="T7" fmla="*/ 334 h 334"/>
                <a:gd name="T8" fmla="*/ 311 w 320"/>
                <a:gd name="T9" fmla="*/ 258 h 334"/>
                <a:gd name="T10" fmla="*/ 268 w 320"/>
                <a:gd name="T11" fmla="*/ 228 h 334"/>
                <a:gd name="T12" fmla="*/ 167 w 320"/>
                <a:gd name="T13" fmla="*/ 284 h 334"/>
                <a:gd name="T14" fmla="*/ 56 w 320"/>
                <a:gd name="T15" fmla="*/ 178 h 334"/>
                <a:gd name="T16" fmla="*/ 320 w 320"/>
                <a:gd name="T17" fmla="*/ 178 h 334"/>
                <a:gd name="T18" fmla="*/ 320 w 320"/>
                <a:gd name="T19" fmla="*/ 161 h 334"/>
                <a:gd name="T20" fmla="*/ 60 w 320"/>
                <a:gd name="T21" fmla="*/ 133 h 334"/>
                <a:gd name="T22" fmla="*/ 62 w 320"/>
                <a:gd name="T23" fmla="*/ 125 h 334"/>
                <a:gd name="T24" fmla="*/ 62 w 320"/>
                <a:gd name="T25" fmla="*/ 125 h 334"/>
                <a:gd name="T26" fmla="*/ 165 w 320"/>
                <a:gd name="T27" fmla="*/ 49 h 334"/>
                <a:gd name="T28" fmla="*/ 264 w 320"/>
                <a:gd name="T29" fmla="*/ 133 h 334"/>
                <a:gd name="T30" fmla="*/ 60 w 320"/>
                <a:gd name="T31" fmla="*/ 133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0" h="334">
                  <a:moveTo>
                    <a:pt x="320" y="161"/>
                  </a:moveTo>
                  <a:cubicBezTo>
                    <a:pt x="320" y="59"/>
                    <a:pt x="251" y="0"/>
                    <a:pt x="167" y="0"/>
                  </a:cubicBezTo>
                  <a:cubicBezTo>
                    <a:pt x="70" y="0"/>
                    <a:pt x="0" y="73"/>
                    <a:pt x="0" y="167"/>
                  </a:cubicBezTo>
                  <a:cubicBezTo>
                    <a:pt x="0" y="262"/>
                    <a:pt x="67" y="334"/>
                    <a:pt x="167" y="334"/>
                  </a:cubicBezTo>
                  <a:cubicBezTo>
                    <a:pt x="233" y="334"/>
                    <a:pt x="282" y="305"/>
                    <a:pt x="311" y="258"/>
                  </a:cubicBezTo>
                  <a:cubicBezTo>
                    <a:pt x="268" y="228"/>
                    <a:pt x="268" y="228"/>
                    <a:pt x="268" y="228"/>
                  </a:cubicBezTo>
                  <a:cubicBezTo>
                    <a:pt x="248" y="262"/>
                    <a:pt x="217" y="284"/>
                    <a:pt x="167" y="284"/>
                  </a:cubicBezTo>
                  <a:cubicBezTo>
                    <a:pt x="104" y="284"/>
                    <a:pt x="58" y="239"/>
                    <a:pt x="56" y="178"/>
                  </a:cubicBezTo>
                  <a:cubicBezTo>
                    <a:pt x="320" y="178"/>
                    <a:pt x="320" y="178"/>
                    <a:pt x="320" y="178"/>
                  </a:cubicBezTo>
                  <a:cubicBezTo>
                    <a:pt x="320" y="171"/>
                    <a:pt x="320" y="167"/>
                    <a:pt x="320" y="161"/>
                  </a:cubicBezTo>
                  <a:close/>
                  <a:moveTo>
                    <a:pt x="60" y="133"/>
                  </a:moveTo>
                  <a:cubicBezTo>
                    <a:pt x="61" y="130"/>
                    <a:pt x="61" y="127"/>
                    <a:pt x="62" y="125"/>
                  </a:cubicBezTo>
                  <a:cubicBezTo>
                    <a:pt x="62" y="125"/>
                    <a:pt x="62" y="125"/>
                    <a:pt x="62" y="125"/>
                  </a:cubicBezTo>
                  <a:cubicBezTo>
                    <a:pt x="75" y="76"/>
                    <a:pt x="120" y="49"/>
                    <a:pt x="165" y="49"/>
                  </a:cubicBezTo>
                  <a:cubicBezTo>
                    <a:pt x="214" y="49"/>
                    <a:pt x="256" y="80"/>
                    <a:pt x="264" y="133"/>
                  </a:cubicBezTo>
                  <a:lnTo>
                    <a:pt x="60" y="133"/>
                  </a:lnTo>
                  <a:close/>
                </a:path>
              </a:pathLst>
            </a:custGeom>
            <a:solidFill>
              <a:srgbClr val="2440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Body)"/>
                <a:ea typeface="+mn-ea"/>
                <a:cs typeface="+mn-cs"/>
              </a:endParaRPr>
            </a:p>
          </p:txBody>
        </p:sp>
        <p:sp>
          <p:nvSpPr>
            <p:cNvPr id="24" name="Freeform 11">
              <a:extLst>
                <a:ext uri="{FF2B5EF4-FFF2-40B4-BE49-F238E27FC236}">
                  <a16:creationId xmlns:a16="http://schemas.microsoft.com/office/drawing/2014/main" xmlns="" id="{A36517C0-BD0A-49F7-83FE-D70BE497C9C1}"/>
                </a:ext>
              </a:extLst>
            </p:cNvPr>
            <p:cNvSpPr>
              <a:spLocks/>
            </p:cNvSpPr>
            <p:nvPr userDrawn="1"/>
          </p:nvSpPr>
          <p:spPr bwMode="auto">
            <a:xfrm>
              <a:off x="6145" y="289"/>
              <a:ext cx="175" cy="193"/>
            </a:xfrm>
            <a:custGeom>
              <a:avLst/>
              <a:gdLst>
                <a:gd name="T0" fmla="*/ 398 w 417"/>
                <a:gd name="T1" fmla="*/ 139 h 462"/>
                <a:gd name="T2" fmla="*/ 347 w 417"/>
                <a:gd name="T3" fmla="*/ 67 h 462"/>
                <a:gd name="T4" fmla="*/ 270 w 417"/>
                <a:gd name="T5" fmla="*/ 18 h 462"/>
                <a:gd name="T6" fmla="*/ 171 w 417"/>
                <a:gd name="T7" fmla="*/ 0 h 462"/>
                <a:gd name="T8" fmla="*/ 14 w 417"/>
                <a:gd name="T9" fmla="*/ 0 h 462"/>
                <a:gd name="T10" fmla="*/ 0 w 417"/>
                <a:gd name="T11" fmla="*/ 56 h 462"/>
                <a:gd name="T12" fmla="*/ 171 w 417"/>
                <a:gd name="T13" fmla="*/ 56 h 462"/>
                <a:gd name="T14" fmla="*/ 247 w 417"/>
                <a:gd name="T15" fmla="*/ 69 h 462"/>
                <a:gd name="T16" fmla="*/ 306 w 417"/>
                <a:gd name="T17" fmla="*/ 106 h 462"/>
                <a:gd name="T18" fmla="*/ 343 w 417"/>
                <a:gd name="T19" fmla="*/ 162 h 462"/>
                <a:gd name="T20" fmla="*/ 357 w 417"/>
                <a:gd name="T21" fmla="*/ 233 h 462"/>
                <a:gd name="T22" fmla="*/ 343 w 417"/>
                <a:gd name="T23" fmla="*/ 303 h 462"/>
                <a:gd name="T24" fmla="*/ 306 w 417"/>
                <a:gd name="T25" fmla="*/ 359 h 462"/>
                <a:gd name="T26" fmla="*/ 247 w 417"/>
                <a:gd name="T27" fmla="*/ 396 h 462"/>
                <a:gd name="T28" fmla="*/ 171 w 417"/>
                <a:gd name="T29" fmla="*/ 410 h 462"/>
                <a:gd name="T30" fmla="*/ 120 w 417"/>
                <a:gd name="T31" fmla="*/ 408 h 462"/>
                <a:gd name="T32" fmla="*/ 120 w 417"/>
                <a:gd name="T33" fmla="*/ 95 h 462"/>
                <a:gd name="T34" fmla="*/ 64 w 417"/>
                <a:gd name="T35" fmla="*/ 95 h 462"/>
                <a:gd name="T36" fmla="*/ 64 w 417"/>
                <a:gd name="T37" fmla="*/ 462 h 462"/>
                <a:gd name="T38" fmla="*/ 64 w 417"/>
                <a:gd name="T39" fmla="*/ 462 h 462"/>
                <a:gd name="T40" fmla="*/ 120 w 417"/>
                <a:gd name="T41" fmla="*/ 462 h 462"/>
                <a:gd name="T42" fmla="*/ 172 w 417"/>
                <a:gd name="T43" fmla="*/ 462 h 462"/>
                <a:gd name="T44" fmla="*/ 271 w 417"/>
                <a:gd name="T45" fmla="*/ 445 h 462"/>
                <a:gd name="T46" fmla="*/ 348 w 417"/>
                <a:gd name="T47" fmla="*/ 396 h 462"/>
                <a:gd name="T48" fmla="*/ 399 w 417"/>
                <a:gd name="T49" fmla="*/ 323 h 462"/>
                <a:gd name="T50" fmla="*/ 417 w 417"/>
                <a:gd name="T51" fmla="*/ 231 h 462"/>
                <a:gd name="T52" fmla="*/ 398 w 417"/>
                <a:gd name="T53" fmla="*/ 13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7" h="462">
                  <a:moveTo>
                    <a:pt x="398" y="139"/>
                  </a:moveTo>
                  <a:cubicBezTo>
                    <a:pt x="386" y="111"/>
                    <a:pt x="369" y="87"/>
                    <a:pt x="347" y="67"/>
                  </a:cubicBezTo>
                  <a:cubicBezTo>
                    <a:pt x="326" y="46"/>
                    <a:pt x="300" y="29"/>
                    <a:pt x="270" y="18"/>
                  </a:cubicBezTo>
                  <a:cubicBezTo>
                    <a:pt x="240" y="6"/>
                    <a:pt x="207" y="0"/>
                    <a:pt x="171" y="0"/>
                  </a:cubicBezTo>
                  <a:cubicBezTo>
                    <a:pt x="14" y="0"/>
                    <a:pt x="14" y="0"/>
                    <a:pt x="14" y="0"/>
                  </a:cubicBezTo>
                  <a:cubicBezTo>
                    <a:pt x="0" y="56"/>
                    <a:pt x="0" y="56"/>
                    <a:pt x="0" y="56"/>
                  </a:cubicBezTo>
                  <a:cubicBezTo>
                    <a:pt x="171" y="56"/>
                    <a:pt x="171" y="56"/>
                    <a:pt x="171" y="56"/>
                  </a:cubicBezTo>
                  <a:cubicBezTo>
                    <a:pt x="199" y="56"/>
                    <a:pt x="224" y="60"/>
                    <a:pt x="247" y="69"/>
                  </a:cubicBezTo>
                  <a:cubicBezTo>
                    <a:pt x="270" y="78"/>
                    <a:pt x="289" y="91"/>
                    <a:pt x="306" y="106"/>
                  </a:cubicBezTo>
                  <a:cubicBezTo>
                    <a:pt x="322" y="122"/>
                    <a:pt x="334" y="141"/>
                    <a:pt x="343" y="162"/>
                  </a:cubicBezTo>
                  <a:cubicBezTo>
                    <a:pt x="353" y="184"/>
                    <a:pt x="357" y="207"/>
                    <a:pt x="357" y="233"/>
                  </a:cubicBezTo>
                  <a:cubicBezTo>
                    <a:pt x="357" y="258"/>
                    <a:pt x="353" y="281"/>
                    <a:pt x="343" y="303"/>
                  </a:cubicBezTo>
                  <a:cubicBezTo>
                    <a:pt x="334" y="324"/>
                    <a:pt x="322" y="343"/>
                    <a:pt x="306" y="359"/>
                  </a:cubicBezTo>
                  <a:cubicBezTo>
                    <a:pt x="289" y="374"/>
                    <a:pt x="270" y="387"/>
                    <a:pt x="247" y="396"/>
                  </a:cubicBezTo>
                  <a:cubicBezTo>
                    <a:pt x="224" y="405"/>
                    <a:pt x="199" y="410"/>
                    <a:pt x="171" y="410"/>
                  </a:cubicBezTo>
                  <a:cubicBezTo>
                    <a:pt x="120" y="408"/>
                    <a:pt x="120" y="408"/>
                    <a:pt x="120" y="408"/>
                  </a:cubicBezTo>
                  <a:cubicBezTo>
                    <a:pt x="120" y="95"/>
                    <a:pt x="120" y="95"/>
                    <a:pt x="120" y="95"/>
                  </a:cubicBezTo>
                  <a:cubicBezTo>
                    <a:pt x="64" y="95"/>
                    <a:pt x="64" y="95"/>
                    <a:pt x="64" y="95"/>
                  </a:cubicBezTo>
                  <a:cubicBezTo>
                    <a:pt x="64" y="462"/>
                    <a:pt x="64" y="462"/>
                    <a:pt x="64" y="462"/>
                  </a:cubicBezTo>
                  <a:cubicBezTo>
                    <a:pt x="64" y="462"/>
                    <a:pt x="64" y="462"/>
                    <a:pt x="64" y="462"/>
                  </a:cubicBezTo>
                  <a:cubicBezTo>
                    <a:pt x="120" y="462"/>
                    <a:pt x="120" y="462"/>
                    <a:pt x="120" y="462"/>
                  </a:cubicBezTo>
                  <a:cubicBezTo>
                    <a:pt x="172" y="462"/>
                    <a:pt x="172" y="462"/>
                    <a:pt x="172" y="462"/>
                  </a:cubicBezTo>
                  <a:cubicBezTo>
                    <a:pt x="208" y="462"/>
                    <a:pt x="241" y="456"/>
                    <a:pt x="271" y="445"/>
                  </a:cubicBezTo>
                  <a:cubicBezTo>
                    <a:pt x="301" y="433"/>
                    <a:pt x="327" y="417"/>
                    <a:pt x="348" y="396"/>
                  </a:cubicBezTo>
                  <a:cubicBezTo>
                    <a:pt x="369" y="375"/>
                    <a:pt x="386" y="351"/>
                    <a:pt x="399" y="323"/>
                  </a:cubicBezTo>
                  <a:cubicBezTo>
                    <a:pt x="411" y="295"/>
                    <a:pt x="417" y="264"/>
                    <a:pt x="417" y="231"/>
                  </a:cubicBezTo>
                  <a:cubicBezTo>
                    <a:pt x="417" y="198"/>
                    <a:pt x="410" y="167"/>
                    <a:pt x="398" y="139"/>
                  </a:cubicBezTo>
                  <a:close/>
                </a:path>
              </a:pathLst>
            </a:custGeom>
            <a:solidFill>
              <a:srgbClr val="2440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Body)"/>
                <a:ea typeface="+mn-ea"/>
                <a:cs typeface="+mn-cs"/>
              </a:endParaRPr>
            </a:p>
          </p:txBody>
        </p:sp>
      </p:grpSp>
      <p:sp>
        <p:nvSpPr>
          <p:cNvPr id="15" name="Pladsholder til slidenummer 5">
            <a:extLst>
              <a:ext uri="{FF2B5EF4-FFF2-40B4-BE49-F238E27FC236}">
                <a16:creationId xmlns:a16="http://schemas.microsoft.com/office/drawing/2014/main" xmlns="" id="{D5EBA301-9AE6-4F6B-BD29-AC427BFE6B10}"/>
              </a:ext>
            </a:extLst>
          </p:cNvPr>
          <p:cNvSpPr>
            <a:spLocks noGrp="1"/>
          </p:cNvSpPr>
          <p:nvPr>
            <p:ph type="sldNum" sz="quarter" idx="4"/>
          </p:nvPr>
        </p:nvSpPr>
        <p:spPr>
          <a:xfrm>
            <a:off x="11537357" y="6428806"/>
            <a:ext cx="176000" cy="153888"/>
          </a:xfrm>
          <a:prstGeom prst="rect">
            <a:avLst/>
          </a:prstGeom>
        </p:spPr>
        <p:txBody>
          <a:bodyPr vert="horz" wrap="square" lIns="0" tIns="0" rIns="0" bIns="0" rtlCol="0" anchor="ctr">
            <a:spAutoFit/>
          </a:bodyPr>
          <a:lstStyle>
            <a:lvl1pPr algn="ctr">
              <a:defRPr sz="1000" b="1">
                <a:solidFill>
                  <a:schemeClr val="accent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17CCCC7F-9621-A743-A701-E063ABC03BA8}" type="slidenum">
              <a:rPr kumimoji="0" lang="en-US" sz="1000" b="1" i="0" u="none" strike="noStrike" kern="1200" cap="none" spc="0" normalizeH="0" baseline="0" noProof="0" smtClean="0">
                <a:ln>
                  <a:noFill/>
                </a:ln>
                <a:solidFill>
                  <a:srgbClr val="24405B"/>
                </a:solidFill>
                <a:effectLst/>
                <a:uLnTx/>
                <a:uFillTx/>
                <a:latin typeface="Arial (Body)"/>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rgbClr val="24405B"/>
              </a:solidFill>
              <a:effectLst/>
              <a:uLnTx/>
              <a:uFillTx/>
              <a:latin typeface="Arial (Body)"/>
              <a:ea typeface="+mn-ea"/>
              <a:cs typeface="+mn-cs"/>
            </a:endParaRPr>
          </a:p>
        </p:txBody>
      </p:sp>
    </p:spTree>
    <p:extLst>
      <p:ext uri="{BB962C8B-B14F-4D97-AF65-F5344CB8AC3E}">
        <p14:creationId xmlns:p14="http://schemas.microsoft.com/office/powerpoint/2010/main" xmlns="" val="2273595577"/>
      </p:ext>
    </p:extLst>
  </p:cSld>
  <p:clrMap bg1="lt1" tx1="dk1" bg2="lt2" tx2="dk2" accent1="accent1" accent2="accent2" accent3="accent3" accent4="accent4" accent5="accent5" accent6="accent6" hlink="hlink" folHlink="folHlink"/>
  <p:sldLayoutIdLst>
    <p:sldLayoutId id="2147483663" r:id="rId1"/>
    <p:sldLayoutId id="2147483662" r:id="rId2"/>
  </p:sldLayoutIdLst>
  <p:hf hdr="0" ftr="0" dt="0"/>
  <p:txStyles>
    <p:titleStyle>
      <a:lvl1pPr algn="l" defTabSz="914400" rtl="0" eaLnBrk="1" latinLnBrk="0" hangingPunct="1">
        <a:lnSpc>
          <a:spcPct val="90000"/>
        </a:lnSpc>
        <a:spcBef>
          <a:spcPct val="0"/>
        </a:spcBef>
        <a:buNone/>
        <a:defRPr sz="4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5"/>
        </a:buClr>
        <a:buFont typeface="Arial"/>
        <a:buChar char="•"/>
        <a:defRPr sz="2000" kern="1200">
          <a:solidFill>
            <a:schemeClr val="accent1"/>
          </a:solidFill>
          <a:latin typeface="+mj-lt"/>
          <a:ea typeface="+mn-ea"/>
          <a:cs typeface="+mn-cs"/>
        </a:defRPr>
      </a:lvl1pPr>
      <a:lvl2pPr marL="685800" indent="-228600" algn="l" defTabSz="914400" rtl="0" eaLnBrk="1" latinLnBrk="0" hangingPunct="1">
        <a:lnSpc>
          <a:spcPct val="90000"/>
        </a:lnSpc>
        <a:spcBef>
          <a:spcPts val="500"/>
        </a:spcBef>
        <a:buClr>
          <a:schemeClr val="accent5"/>
        </a:buClr>
        <a:buFont typeface="Arial"/>
        <a:buChar char="•"/>
        <a:defRPr sz="2000" kern="1200">
          <a:solidFill>
            <a:schemeClr val="accent1"/>
          </a:solidFill>
          <a:latin typeface="+mj-lt"/>
          <a:ea typeface="+mn-ea"/>
          <a:cs typeface="+mn-cs"/>
        </a:defRPr>
      </a:lvl2pPr>
      <a:lvl3pPr marL="1143000" indent="-228600" algn="l" defTabSz="914400" rtl="0" eaLnBrk="1" latinLnBrk="0" hangingPunct="1">
        <a:lnSpc>
          <a:spcPct val="90000"/>
        </a:lnSpc>
        <a:spcBef>
          <a:spcPts val="500"/>
        </a:spcBef>
        <a:buClr>
          <a:schemeClr val="accent5"/>
        </a:buClr>
        <a:buFont typeface="Calibri Light" panose="020F0302020204030204" pitchFamily="34" charset="0"/>
        <a:buChar char="−"/>
        <a:defRPr sz="2000" kern="1200">
          <a:solidFill>
            <a:schemeClr val="accent1"/>
          </a:solidFill>
          <a:latin typeface="+mj-lt"/>
          <a:ea typeface="+mn-ea"/>
          <a:cs typeface="+mn-cs"/>
        </a:defRPr>
      </a:lvl3pPr>
      <a:lvl4pPr marL="1600200" indent="-228600" algn="l" defTabSz="914400" rtl="0" eaLnBrk="1" latinLnBrk="0" hangingPunct="1">
        <a:lnSpc>
          <a:spcPct val="90000"/>
        </a:lnSpc>
        <a:spcBef>
          <a:spcPts val="500"/>
        </a:spcBef>
        <a:buClr>
          <a:schemeClr val="accent5"/>
        </a:buClr>
        <a:buFont typeface="Calibri Light" panose="020F0302020204030204" pitchFamily="34" charset="0"/>
        <a:buChar char="−"/>
        <a:defRPr sz="2000" kern="1200">
          <a:solidFill>
            <a:schemeClr val="accent1"/>
          </a:solidFill>
          <a:latin typeface="+mj-lt"/>
          <a:ea typeface="+mn-ea"/>
          <a:cs typeface="+mn-cs"/>
        </a:defRPr>
      </a:lvl4pPr>
      <a:lvl5pPr marL="2057400" indent="-228600" algn="l" defTabSz="914400" rtl="0" eaLnBrk="1" latinLnBrk="0" hangingPunct="1">
        <a:lnSpc>
          <a:spcPct val="90000"/>
        </a:lnSpc>
        <a:spcBef>
          <a:spcPts val="500"/>
        </a:spcBef>
        <a:buClr>
          <a:schemeClr val="accent5"/>
        </a:buClr>
        <a:buFont typeface="Calibri Light" panose="020F0302020204030204" pitchFamily="34" charset="0"/>
        <a:buChar char="−"/>
        <a:defRPr sz="2000" kern="1200">
          <a:solidFill>
            <a:schemeClr val="accent1"/>
          </a:solidFill>
          <a:latin typeface="+mj-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ctrTitle"/>
          </p:nvPr>
        </p:nvSpPr>
        <p:spPr>
          <a:xfrm>
            <a:off x="758399" y="2059059"/>
            <a:ext cx="10742301" cy="2248990"/>
          </a:xfrm>
        </p:spPr>
        <p:txBody>
          <a:bodyPr/>
          <a:lstStyle/>
          <a:p>
            <a:r>
              <a:rPr lang="en-US" sz="4000" b="1" dirty="0">
                <a:solidFill>
                  <a:prstClr val="black">
                    <a:lumMod val="85000"/>
                    <a:lumOff val="15000"/>
                  </a:prstClr>
                </a:solidFill>
                <a:latin typeface="Arial" panose="020B0604020202020204" pitchFamily="34" charset="0"/>
                <a:cs typeface="Arial" panose="020B0604020202020204" pitchFamily="34" charset="0"/>
              </a:rPr>
              <a:t>PRESENTATION TO THE PORTFOLIO COMMITTEE ON HEALTH NHI Bill</a:t>
            </a:r>
            <a:br>
              <a:rPr lang="en-US" sz="4000" b="1" dirty="0">
                <a:solidFill>
                  <a:prstClr val="black">
                    <a:lumMod val="85000"/>
                    <a:lumOff val="15000"/>
                  </a:prstClr>
                </a:solidFill>
                <a:latin typeface="Arial" panose="020B0604020202020204" pitchFamily="34" charset="0"/>
                <a:cs typeface="Arial" panose="020B0604020202020204" pitchFamily="34" charset="0"/>
              </a:rPr>
            </a:br>
            <a:endParaRPr lang="en-US" b="1" dirty="0"/>
          </a:p>
        </p:txBody>
      </p:sp>
      <p:sp>
        <p:nvSpPr>
          <p:cNvPr id="3" name="Subtitle 2">
            <a:extLst>
              <a:ext uri="{FF2B5EF4-FFF2-40B4-BE49-F238E27FC236}">
                <a16:creationId xmlns:a16="http://schemas.microsoft.com/office/drawing/2014/main" xmlns="" id="{FF80D265-6014-054F-9FA6-6C5E9686451B}"/>
              </a:ext>
            </a:extLst>
          </p:cNvPr>
          <p:cNvSpPr>
            <a:spLocks noGrp="1"/>
          </p:cNvSpPr>
          <p:nvPr>
            <p:ph type="subTitle" idx="1"/>
          </p:nvPr>
        </p:nvSpPr>
        <p:spPr>
          <a:xfrm>
            <a:off x="758400" y="3358694"/>
            <a:ext cx="9460256" cy="826807"/>
          </a:xfrm>
        </p:spPr>
        <p:txBody>
          <a:bodyPr>
            <a:noAutofit/>
          </a:bodyPr>
          <a:lstStyle/>
          <a:p>
            <a:endParaRPr lang="en-US" sz="2000" dirty="0"/>
          </a:p>
          <a:p>
            <a:endParaRPr lang="en-US" sz="2000" dirty="0"/>
          </a:p>
          <a:p>
            <a:r>
              <a:rPr lang="en-US" sz="2000" dirty="0"/>
              <a:t>13 July 2021</a:t>
            </a:r>
          </a:p>
          <a:p>
            <a:r>
              <a:rPr lang="en-US" sz="2000" dirty="0"/>
              <a:t>15h45</a:t>
            </a:r>
          </a:p>
          <a:p>
            <a:r>
              <a:rPr lang="en-US" sz="2000" dirty="0"/>
              <a:t>Virtual</a:t>
            </a:r>
          </a:p>
        </p:txBody>
      </p:sp>
    </p:spTree>
    <p:extLst>
      <p:ext uri="{BB962C8B-B14F-4D97-AF65-F5344CB8AC3E}">
        <p14:creationId xmlns:p14="http://schemas.microsoft.com/office/powerpoint/2010/main" xmlns="" val="23469701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latin typeface="+mn-lt"/>
              </a:rPr>
              <a:t>Oticon submission summary - Pricing</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755821"/>
            <a:ext cx="10536675" cy="3793483"/>
          </a:xfrm>
        </p:spPr>
        <p:txBody>
          <a:bodyPr>
            <a:normAutofit/>
          </a:bodyPr>
          <a:lstStyle/>
          <a:p>
            <a:pPr algn="l">
              <a:lnSpc>
                <a:spcPct val="150000"/>
              </a:lnSpc>
            </a:pPr>
            <a:r>
              <a:rPr lang="en-US" sz="1800" b="1" dirty="0"/>
              <a:t>Product Pricing: </a:t>
            </a:r>
            <a:r>
              <a:rPr lang="en-US" sz="1800" dirty="0"/>
              <a:t>We propose alternative reimbursement models, as have been proposed by industry over the years be implemented. These models will encourage competition and innovation  which will ensure better pricing and outcomes for patients, and this will ultimately breach the access gap.</a:t>
            </a:r>
            <a:endParaRPr lang="en-US" sz="1800" b="1" dirty="0"/>
          </a:p>
          <a:p>
            <a:pPr algn="l">
              <a:lnSpc>
                <a:spcPct val="150000"/>
              </a:lnSpc>
            </a:pPr>
            <a:r>
              <a:rPr lang="en-US" sz="1800" u="sng" dirty="0"/>
              <a:t>It must also be recognized there is a huge difference between  the business model for medicines and devices, which includes differences in training support, post-sale training and support, maintenance etc., and therefore, separate pricing measures must be created for each, considering these differences and more.</a:t>
            </a:r>
          </a:p>
        </p:txBody>
      </p:sp>
    </p:spTree>
    <p:extLst>
      <p:ext uri="{BB962C8B-B14F-4D97-AF65-F5344CB8AC3E}">
        <p14:creationId xmlns:p14="http://schemas.microsoft.com/office/powerpoint/2010/main" xmlns="" val="6728070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xmlns="" id="{8774466F-F3AE-4E71-8F63-07E5CEF9D346}"/>
              </a:ext>
            </a:extLst>
          </p:cNvPr>
          <p:cNvSpPr>
            <a:spLocks noGrp="1"/>
          </p:cNvSpPr>
          <p:nvPr>
            <p:ph type="title"/>
          </p:nvPr>
        </p:nvSpPr>
        <p:spPr>
          <a:xfrm>
            <a:off x="695324" y="764036"/>
            <a:ext cx="10536675" cy="775597"/>
          </a:xfrm>
        </p:spPr>
        <p:txBody>
          <a:bodyPr/>
          <a:lstStyle/>
          <a:p>
            <a:r>
              <a:rPr lang="en-US" sz="2800" b="1" dirty="0">
                <a:latin typeface="+mn-lt"/>
              </a:rPr>
              <a:t>Oticon submission summary - Pricing</a:t>
            </a:r>
            <a:br>
              <a:rPr lang="en-US" sz="2800" b="1" dirty="0">
                <a:latin typeface="+mn-lt"/>
              </a:rPr>
            </a:br>
            <a:endParaRPr lang="en-ZA" sz="2800" dirty="0"/>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293236"/>
            <a:ext cx="10536675" cy="4578990"/>
          </a:xfrm>
        </p:spPr>
        <p:txBody>
          <a:bodyPr>
            <a:noAutofit/>
          </a:bodyPr>
          <a:lstStyle/>
          <a:p>
            <a:pPr algn="l">
              <a:lnSpc>
                <a:spcPct val="170000"/>
              </a:lnSpc>
            </a:pPr>
            <a:r>
              <a:rPr lang="en-US" sz="1600" b="1" dirty="0"/>
              <a:t>Procurement through tender: </a:t>
            </a:r>
            <a:r>
              <a:rPr lang="en-US" sz="1600" dirty="0"/>
              <a:t>Oticon is currently on tender to government for the supply of hearing aid devices and consumables and is in support of the tender system being part of the pricing mechanism, provided the measures to ensure that the system is </a:t>
            </a:r>
            <a:r>
              <a:rPr lang="en-US" sz="1600" i="1" dirty="0"/>
              <a:t>“…fair, equitable, transparent and cost-effective…” </a:t>
            </a:r>
            <a:r>
              <a:rPr lang="en-US" sz="1600" dirty="0"/>
              <a:t>and are reinforced and processes are reviewed to eliminate any contravention of section 217 of the Constitution.</a:t>
            </a:r>
          </a:p>
          <a:p>
            <a:pPr algn="l">
              <a:lnSpc>
                <a:spcPct val="170000"/>
              </a:lnSpc>
            </a:pPr>
            <a:r>
              <a:rPr lang="en-US" sz="1600" dirty="0"/>
              <a:t>The is currently no EEL (Essential Equipment List), whilst there is a list for essential medicines (EML), and requisite processes to review same. The Bill proposes the development of a formulary for EML and EEL under clause 38(4), however the EEL must be developed and approved prior to such formulary and prior to the Bill being passed. </a:t>
            </a:r>
          </a:p>
          <a:p>
            <a:pPr algn="l">
              <a:lnSpc>
                <a:spcPct val="170000"/>
              </a:lnSpc>
            </a:pPr>
            <a:r>
              <a:rPr lang="en-US" sz="1600" u="sng" dirty="0"/>
              <a:t>We therefore propose that EEL be developed as soon as possible as it is not only a requirement under NHI but there is even now a current need for it. The NHI must also provide adequate resources and structures to review these two lists from time to time.</a:t>
            </a:r>
          </a:p>
          <a:p>
            <a:pPr algn="l">
              <a:lnSpc>
                <a:spcPct val="170000"/>
              </a:lnSpc>
            </a:pPr>
            <a:endParaRPr lang="en-US" sz="1600" u="sng" dirty="0"/>
          </a:p>
          <a:p>
            <a:pPr algn="l">
              <a:lnSpc>
                <a:spcPct val="170000"/>
              </a:lnSpc>
            </a:pPr>
            <a:endParaRPr lang="en-US" sz="1600" u="sng" dirty="0"/>
          </a:p>
        </p:txBody>
      </p:sp>
    </p:spTree>
    <p:extLst>
      <p:ext uri="{BB962C8B-B14F-4D97-AF65-F5344CB8AC3E}">
        <p14:creationId xmlns:p14="http://schemas.microsoft.com/office/powerpoint/2010/main" xmlns="" val="11061055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xmlns="" id="{1E21F117-A320-4790-9A8E-C6ED22A9F977}"/>
              </a:ext>
            </a:extLst>
          </p:cNvPr>
          <p:cNvSpPr>
            <a:spLocks noGrp="1"/>
          </p:cNvSpPr>
          <p:nvPr>
            <p:ph type="title"/>
          </p:nvPr>
        </p:nvSpPr>
        <p:spPr>
          <a:xfrm>
            <a:off x="695324" y="830112"/>
            <a:ext cx="10536675" cy="775597"/>
          </a:xfrm>
        </p:spPr>
        <p:txBody>
          <a:bodyPr/>
          <a:lstStyle/>
          <a:p>
            <a:r>
              <a:rPr lang="en-US" sz="2800" b="1" dirty="0">
                <a:latin typeface="+mn-lt"/>
              </a:rPr>
              <a:t>Oticon submission summary - Pricing</a:t>
            </a:r>
            <a:br>
              <a:rPr lang="en-US" sz="2800" b="1" dirty="0">
                <a:latin typeface="+mn-lt"/>
              </a:rPr>
            </a:br>
            <a:endParaRPr lang="en-ZA" sz="2800" dirty="0"/>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386544"/>
            <a:ext cx="10536675" cy="3793483"/>
          </a:xfrm>
        </p:spPr>
        <p:txBody>
          <a:bodyPr>
            <a:noAutofit/>
          </a:bodyPr>
          <a:lstStyle/>
          <a:p>
            <a:pPr algn="l">
              <a:lnSpc>
                <a:spcPct val="150000"/>
              </a:lnSpc>
            </a:pPr>
            <a:r>
              <a:rPr lang="en-US" sz="1600" b="1" dirty="0"/>
              <a:t>Multiple pricing mechanisms</a:t>
            </a:r>
          </a:p>
          <a:p>
            <a:pPr marL="342900" indent="-342900" algn="l">
              <a:lnSpc>
                <a:spcPct val="150000"/>
              </a:lnSpc>
              <a:buFont typeface="Arial" panose="020B0604020202020204" pitchFamily="34" charset="0"/>
              <a:buChar char="•"/>
            </a:pPr>
            <a:r>
              <a:rPr lang="en-US" sz="1600" b="1" dirty="0"/>
              <a:t>Single Exit Price (SEP): </a:t>
            </a:r>
            <a:r>
              <a:rPr lang="en-US" sz="1600" dirty="0"/>
              <a:t>is also another pricing mechanism envisaged under the Bill in addition to the tender system.</a:t>
            </a:r>
          </a:p>
          <a:p>
            <a:pPr marL="342900" indent="-342900" algn="l">
              <a:lnSpc>
                <a:spcPct val="150000"/>
              </a:lnSpc>
              <a:buFont typeface="Arial" panose="020B0604020202020204" pitchFamily="34" charset="0"/>
              <a:buChar char="•"/>
            </a:pPr>
            <a:r>
              <a:rPr lang="en-US" sz="1600" b="1" dirty="0"/>
              <a:t>Negotiated Pricing: </a:t>
            </a:r>
            <a:r>
              <a:rPr lang="en-US" sz="1600" dirty="0"/>
              <a:t>Clause 38 proposes another pricing mechanism,.</a:t>
            </a:r>
          </a:p>
          <a:p>
            <a:pPr marL="342900" indent="-342900" algn="l">
              <a:lnSpc>
                <a:spcPct val="150000"/>
              </a:lnSpc>
              <a:buFont typeface="Arial" panose="020B0604020202020204" pitchFamily="34" charset="0"/>
              <a:buChar char="•"/>
            </a:pPr>
            <a:r>
              <a:rPr lang="en-US" sz="1600" b="1" dirty="0"/>
              <a:t>Supplier rates: </a:t>
            </a:r>
            <a:r>
              <a:rPr lang="en-US" sz="1600" dirty="0"/>
              <a:t>The Bill also provides under clause 41(3) that there will be a rate for suppliers that will be determined annually.</a:t>
            </a:r>
          </a:p>
          <a:p>
            <a:pPr algn="l">
              <a:lnSpc>
                <a:spcPct val="150000"/>
              </a:lnSpc>
            </a:pPr>
            <a:r>
              <a:rPr lang="en-US" sz="1600" dirty="0"/>
              <a:t>Oticon foresees that these multiple pricing mechanisms will cause confusion, and require costly systems and infrastructure to implement, and transparency may be an issue.</a:t>
            </a:r>
          </a:p>
          <a:p>
            <a:pPr algn="l">
              <a:lnSpc>
                <a:spcPct val="150000"/>
              </a:lnSpc>
            </a:pPr>
            <a:r>
              <a:rPr lang="en-US" sz="1600" dirty="0"/>
              <a:t>Oticon strongly proposes that the tender system remain the pricing system and that price negotiation take into consideration innovative products and the benefit they provide the patient.</a:t>
            </a:r>
          </a:p>
          <a:p>
            <a:pPr algn="l">
              <a:lnSpc>
                <a:spcPct val="150000"/>
              </a:lnSpc>
            </a:pPr>
            <a:r>
              <a:rPr lang="en-US" sz="1600" dirty="0"/>
              <a:t>In general, Oticon urges that the tender procurement system must be clear, simple and efficient</a:t>
            </a:r>
          </a:p>
          <a:p>
            <a:pPr algn="l">
              <a:lnSpc>
                <a:spcPct val="150000"/>
              </a:lnSpc>
            </a:pPr>
            <a:endParaRPr lang="en-US" sz="1600" dirty="0"/>
          </a:p>
          <a:p>
            <a:pPr algn="l">
              <a:lnSpc>
                <a:spcPct val="150000"/>
              </a:lnSpc>
            </a:pPr>
            <a:endParaRPr lang="en-US" sz="1600" u="sng" dirty="0"/>
          </a:p>
        </p:txBody>
      </p:sp>
    </p:spTree>
    <p:extLst>
      <p:ext uri="{BB962C8B-B14F-4D97-AF65-F5344CB8AC3E}">
        <p14:creationId xmlns:p14="http://schemas.microsoft.com/office/powerpoint/2010/main" xmlns="" val="41097567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latin typeface="+mn-lt"/>
              </a:rPr>
              <a:t>Oticon submission summary - Innovation</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459436"/>
            <a:ext cx="10536675" cy="3793483"/>
          </a:xfrm>
        </p:spPr>
        <p:txBody>
          <a:bodyPr>
            <a:noAutofit/>
          </a:bodyPr>
          <a:lstStyle/>
          <a:p>
            <a:pPr algn="l">
              <a:lnSpc>
                <a:spcPct val="170000"/>
              </a:lnSpc>
            </a:pPr>
            <a:r>
              <a:rPr lang="en-US" sz="1600" dirty="0"/>
              <a:t>Oticon prides itself in being an innovative company that strives to find solution to suit individual with hearing loss. Innovative products such as the ones introduced by Oticon, e.g.:</a:t>
            </a:r>
          </a:p>
          <a:p>
            <a:pPr marL="800100" lvl="1" indent="-342900" algn="l">
              <a:lnSpc>
                <a:spcPct val="170000"/>
              </a:lnSpc>
              <a:buFont typeface="Arial" panose="020B0604020202020204" pitchFamily="34" charset="0"/>
              <a:buChar char="•"/>
            </a:pPr>
            <a:r>
              <a:rPr lang="en-US" sz="1600" dirty="0"/>
              <a:t>The first discreet in-the-ear-hearing device (1977)</a:t>
            </a:r>
          </a:p>
          <a:p>
            <a:pPr marL="800100" lvl="1" indent="-342900" algn="l">
              <a:lnSpc>
                <a:spcPct val="170000"/>
              </a:lnSpc>
              <a:buFont typeface="Arial" panose="020B0604020202020204" pitchFamily="34" charset="0"/>
              <a:buChar char="•"/>
            </a:pPr>
            <a:r>
              <a:rPr lang="en-US" sz="1600" dirty="0"/>
              <a:t>The first fully digital hearing device (1996)</a:t>
            </a:r>
            <a:r>
              <a:rPr lang="en-ZA" sz="1600" dirty="0"/>
              <a:t> </a:t>
            </a:r>
            <a:endParaRPr lang="en-US" sz="1600" dirty="0"/>
          </a:p>
          <a:p>
            <a:pPr marL="800100" lvl="1" indent="-342900" algn="l">
              <a:lnSpc>
                <a:spcPct val="170000"/>
              </a:lnSpc>
              <a:buFont typeface="Arial" panose="020B0604020202020204" pitchFamily="34" charset="0"/>
              <a:buChar char="•"/>
            </a:pPr>
            <a:r>
              <a:rPr lang="en-US" sz="1600" dirty="0"/>
              <a:t>In 2014</a:t>
            </a:r>
            <a:r>
              <a:rPr lang="en-ZA" sz="1600" dirty="0"/>
              <a:t> Oticon announced that its devices now support the brain making sense of sounds by giving it the conditions it need to create meaning from sound, instead of overloading it by turning up the volume</a:t>
            </a:r>
          </a:p>
          <a:p>
            <a:pPr algn="l">
              <a:lnSpc>
                <a:spcPct val="170000"/>
              </a:lnSpc>
            </a:pPr>
            <a:r>
              <a:rPr lang="en-ZA" sz="1600" dirty="0"/>
              <a:t>While these innovative and beneficial, value adding devices are accessible to privately funded patients, they are not available to state patients, due to underfunding, leaving patients with outdated devices. Resulting in deprivation of a quality of life for a majority of our patients. The devices that are provided to most patients in the public sector are outdated.</a:t>
            </a:r>
          </a:p>
          <a:p>
            <a:pPr algn="l">
              <a:lnSpc>
                <a:spcPct val="170000"/>
              </a:lnSpc>
            </a:pPr>
            <a:endParaRPr lang="en-ZA" sz="1600" dirty="0"/>
          </a:p>
          <a:p>
            <a:pPr algn="l">
              <a:lnSpc>
                <a:spcPct val="170000"/>
              </a:lnSpc>
            </a:pPr>
            <a:endParaRPr lang="en-ZA" sz="1600" dirty="0"/>
          </a:p>
          <a:p>
            <a:pPr algn="l">
              <a:lnSpc>
                <a:spcPct val="170000"/>
              </a:lnSpc>
            </a:pPr>
            <a:endParaRPr lang="en-ZA" sz="1600" dirty="0"/>
          </a:p>
          <a:p>
            <a:pPr algn="l">
              <a:lnSpc>
                <a:spcPct val="170000"/>
              </a:lnSpc>
            </a:pPr>
            <a:endParaRPr lang="en-US" sz="1600" dirty="0"/>
          </a:p>
        </p:txBody>
      </p:sp>
    </p:spTree>
    <p:extLst>
      <p:ext uri="{BB962C8B-B14F-4D97-AF65-F5344CB8AC3E}">
        <p14:creationId xmlns:p14="http://schemas.microsoft.com/office/powerpoint/2010/main" xmlns="" val="32668575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xmlns="" id="{10C666C3-5F87-4F13-9ADE-513779C861E1}"/>
              </a:ext>
            </a:extLst>
          </p:cNvPr>
          <p:cNvSpPr>
            <a:spLocks noGrp="1"/>
          </p:cNvSpPr>
          <p:nvPr>
            <p:ph type="title"/>
          </p:nvPr>
        </p:nvSpPr>
        <p:spPr>
          <a:xfrm>
            <a:off x="695324" y="905438"/>
            <a:ext cx="10536675" cy="775597"/>
          </a:xfrm>
        </p:spPr>
        <p:txBody>
          <a:bodyPr/>
          <a:lstStyle/>
          <a:p>
            <a:r>
              <a:rPr lang="en-US" sz="2800" b="1" dirty="0">
                <a:latin typeface="+mn-lt"/>
              </a:rPr>
              <a:t>Oticon submission summary - Innovation</a:t>
            </a:r>
            <a:br>
              <a:rPr lang="en-US" sz="2800" b="1" dirty="0">
                <a:latin typeface="+mn-lt"/>
              </a:rPr>
            </a:br>
            <a:endParaRPr lang="en-ZA" sz="2800" dirty="0"/>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532258"/>
            <a:ext cx="10536675" cy="3793483"/>
          </a:xfrm>
        </p:spPr>
        <p:txBody>
          <a:bodyPr>
            <a:noAutofit/>
          </a:bodyPr>
          <a:lstStyle/>
          <a:p>
            <a:pPr algn="l">
              <a:lnSpc>
                <a:spcPct val="170000"/>
              </a:lnSpc>
            </a:pPr>
            <a:r>
              <a:rPr lang="en-ZA" sz="1600" dirty="0"/>
              <a:t>Negotiating </a:t>
            </a:r>
            <a:r>
              <a:rPr lang="en-ZA" sz="1600" i="1" dirty="0"/>
              <a:t>“…the lowest price possible…” </a:t>
            </a:r>
            <a:r>
              <a:rPr lang="en-ZA" sz="1600" dirty="0"/>
              <a:t>as envisaged in clause 11(2) of the Bill </a:t>
            </a:r>
            <a:r>
              <a:rPr lang="en-ZA" sz="1600" i="1" dirty="0"/>
              <a:t>“…without compromising the interests of the user.”  </a:t>
            </a:r>
            <a:r>
              <a:rPr lang="en-ZA" sz="1600" dirty="0"/>
              <a:t>It is unclear to what extent the interest will be protected and whether it includes access to innovative products, or only access to the bare minimum even if the innovative product is indicated and necessary for some patients. This provision is an indication that innovation and new technology are not priority in the Bill.</a:t>
            </a:r>
          </a:p>
          <a:p>
            <a:pPr algn="l">
              <a:lnSpc>
                <a:spcPct val="170000"/>
              </a:lnSpc>
            </a:pPr>
            <a:r>
              <a:rPr lang="en-ZA" sz="1600" dirty="0"/>
              <a:t>Innovative products are more expensive due to the research and development and the technology that most of them use. They provide quality of life and ensure that previously untreated conditions are treated, and they have the ability to reach a wider and more diverse group of patients due to ease of administration and patient compliance.</a:t>
            </a:r>
          </a:p>
          <a:p>
            <a:pPr algn="l">
              <a:lnSpc>
                <a:spcPct val="170000"/>
              </a:lnSpc>
            </a:pPr>
            <a:r>
              <a:rPr lang="en-US" sz="1600" b="1" u="sng" dirty="0"/>
              <a:t>The Bill must make provision for funding of innovative products to ensure inclusivity and to give effect to the principle of Constitutional equality.</a:t>
            </a:r>
          </a:p>
        </p:txBody>
      </p:sp>
    </p:spTree>
    <p:extLst>
      <p:ext uri="{BB962C8B-B14F-4D97-AF65-F5344CB8AC3E}">
        <p14:creationId xmlns:p14="http://schemas.microsoft.com/office/powerpoint/2010/main" xmlns="" val="19117127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latin typeface="+mn-lt"/>
              </a:rPr>
              <a:t>Oticon submission summary - Formulary</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378749"/>
            <a:ext cx="10536675" cy="3793483"/>
          </a:xfrm>
        </p:spPr>
        <p:txBody>
          <a:bodyPr>
            <a:noAutofit/>
          </a:bodyPr>
          <a:lstStyle/>
          <a:p>
            <a:pPr algn="l">
              <a:lnSpc>
                <a:spcPct val="160000"/>
              </a:lnSpc>
            </a:pPr>
            <a:r>
              <a:rPr lang="en-ZA" sz="1800" dirty="0"/>
              <a:t>Formularies and lists  (EML and EEL) are accepted as a way to create certainty. However these formularies and lists may cause more harm than good if they are finite, i.e. no room for exceptions and alternatives, if what is in the formulary and/or the list is not suitable for a patient, or if what the patient requires is not covered. </a:t>
            </a:r>
          </a:p>
          <a:p>
            <a:pPr algn="l">
              <a:lnSpc>
                <a:spcPct val="160000"/>
              </a:lnSpc>
            </a:pPr>
            <a:r>
              <a:rPr lang="en-ZA" sz="1800" dirty="0"/>
              <a:t>The Medicines Act Regulations 15H and 15I provide patients with alternatives and exceptions in the abovementioned instances. Clause 38(4) of the Bill does not cover these instances. The result will be that those patients not covered by the formulary and the lists will be left without treatment and the ones currently covered under the Medicines Act Regulations who are on non-formulary, non-EML and non-tender products will no longer be covered resulting in no treatment or out of pocket treatment.</a:t>
            </a:r>
          </a:p>
          <a:p>
            <a:pPr algn="l">
              <a:lnSpc>
                <a:spcPct val="160000"/>
              </a:lnSpc>
            </a:pPr>
            <a:r>
              <a:rPr lang="en-ZA" sz="1800" dirty="0"/>
              <a:t>It is important that the Bill provide for these circumstances, including continued treatment on clinical trial products.</a:t>
            </a:r>
          </a:p>
          <a:p>
            <a:pPr algn="l">
              <a:lnSpc>
                <a:spcPct val="160000"/>
              </a:lnSpc>
            </a:pPr>
            <a:endParaRPr lang="en-ZA" sz="1800" dirty="0"/>
          </a:p>
        </p:txBody>
      </p:sp>
    </p:spTree>
    <p:extLst>
      <p:ext uri="{BB962C8B-B14F-4D97-AF65-F5344CB8AC3E}">
        <p14:creationId xmlns:p14="http://schemas.microsoft.com/office/powerpoint/2010/main" xmlns="" val="32047279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latin typeface="+mn-lt"/>
              </a:rPr>
              <a:t>Oticon submission summary – Treatment Guidelines</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4" y="1532258"/>
            <a:ext cx="10536675" cy="3793483"/>
          </a:xfrm>
        </p:spPr>
        <p:txBody>
          <a:bodyPr>
            <a:normAutofit/>
          </a:bodyPr>
          <a:lstStyle/>
          <a:p>
            <a:pPr algn="l">
              <a:lnSpc>
                <a:spcPct val="150000"/>
              </a:lnSpc>
            </a:pPr>
            <a:r>
              <a:rPr lang="en-ZA" sz="1800" dirty="0"/>
              <a:t>The Benefits Advisory Committee, (“BAC”) will </a:t>
            </a:r>
            <a:r>
              <a:rPr lang="en-US" sz="1800" dirty="0"/>
              <a:t>determine and review cost effective treatment guidelines that take into account the emergence of new technologies</a:t>
            </a:r>
            <a:r>
              <a:rPr lang="en-ZA" sz="1800" dirty="0"/>
              <a:t> in terms of clause 25(5)(b).</a:t>
            </a:r>
          </a:p>
          <a:p>
            <a:pPr algn="l">
              <a:lnSpc>
                <a:spcPct val="150000"/>
              </a:lnSpc>
            </a:pPr>
            <a:endParaRPr lang="en-ZA" sz="1800" dirty="0"/>
          </a:p>
          <a:p>
            <a:pPr algn="l">
              <a:lnSpc>
                <a:spcPct val="150000"/>
              </a:lnSpc>
            </a:pPr>
            <a:r>
              <a:rPr lang="en-ZA" sz="1800" dirty="0"/>
              <a:t>Oticon strongly recommends that BAC consult with or involve </a:t>
            </a:r>
            <a:r>
              <a:rPr lang="en-US" sz="1800" dirty="0"/>
              <a:t>healthcare professionals and their respective associations or groups in developing these guidelines based on evidence-based medicine. This requirement must be included in clause 25(5)(b), in order for the guidelines to be clinically appropriate and relevant to the patient.</a:t>
            </a:r>
            <a:endParaRPr lang="en-ZA" sz="1800" dirty="0"/>
          </a:p>
        </p:txBody>
      </p:sp>
    </p:spTree>
    <p:extLst>
      <p:ext uri="{BB962C8B-B14F-4D97-AF65-F5344CB8AC3E}">
        <p14:creationId xmlns:p14="http://schemas.microsoft.com/office/powerpoint/2010/main" xmlns="" val="29912406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fontScale="90000"/>
          </a:bodyPr>
          <a:lstStyle/>
          <a:p>
            <a:pPr algn="l"/>
            <a:r>
              <a:rPr lang="en-US" sz="2800" b="1" dirty="0">
                <a:latin typeface="+mn-lt"/>
              </a:rPr>
              <a:t>Oticon submission summary – Payment of Providers and Suppliers</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459436"/>
            <a:ext cx="10536675" cy="3793483"/>
          </a:xfrm>
        </p:spPr>
        <p:txBody>
          <a:bodyPr>
            <a:noAutofit/>
          </a:bodyPr>
          <a:lstStyle/>
          <a:p>
            <a:pPr algn="l">
              <a:lnSpc>
                <a:spcPct val="150000"/>
              </a:lnSpc>
            </a:pPr>
            <a:r>
              <a:rPr lang="en-ZA" sz="1800" dirty="0"/>
              <a:t>The Bill proposes that, </a:t>
            </a:r>
            <a:r>
              <a:rPr lang="en-ZA" sz="1800" i="1" dirty="0"/>
              <a:t>“…payment to specialists and hospital services be all-inclusive and based on the performance of the health care service provider, health establishment or supplier of health goods, as the case may be.”</a:t>
            </a:r>
          </a:p>
          <a:p>
            <a:pPr algn="l">
              <a:lnSpc>
                <a:spcPct val="150000"/>
              </a:lnSpc>
            </a:pPr>
            <a:r>
              <a:rPr lang="en-ZA" sz="1800" dirty="0"/>
              <a:t>Oticon is in full support of this approach, however, fee for outcomes cannot be effected without an effective system in place. This approach has proven to be complex and has not been implemented over the years as a result.</a:t>
            </a:r>
          </a:p>
          <a:p>
            <a:pPr algn="l">
              <a:lnSpc>
                <a:spcPct val="150000"/>
              </a:lnSpc>
            </a:pPr>
            <a:r>
              <a:rPr lang="en-ZA" sz="1800" dirty="0"/>
              <a:t>To this end, Oticon support the recommendation made by the Health Market Inquiry, (HMI), for the establishment of an </a:t>
            </a:r>
            <a:r>
              <a:rPr lang="en-AU" sz="1800" dirty="0"/>
              <a:t>Outcomes Measurement and Reporting Organisation (OMRO). </a:t>
            </a:r>
          </a:p>
          <a:p>
            <a:pPr algn="l">
              <a:lnSpc>
                <a:spcPct val="150000"/>
              </a:lnSpc>
            </a:pPr>
            <a:r>
              <a:rPr lang="en-AU" sz="1800" u="sng" dirty="0"/>
              <a:t>OMRO must be stablished and be up and running prior to the NHI being in effect, in order to avoid uncertainties and unpaid providers and suppliers as a result.</a:t>
            </a:r>
          </a:p>
          <a:p>
            <a:pPr algn="l">
              <a:lnSpc>
                <a:spcPct val="150000"/>
              </a:lnSpc>
            </a:pPr>
            <a:r>
              <a:rPr lang="en-AU" sz="1800" u="sng" dirty="0"/>
              <a:t>“All-inclusive” must be defined.</a:t>
            </a:r>
          </a:p>
          <a:p>
            <a:pPr algn="l">
              <a:lnSpc>
                <a:spcPct val="150000"/>
              </a:lnSpc>
            </a:pPr>
            <a:endParaRPr lang="en-ZA" sz="1800" u="sng" dirty="0"/>
          </a:p>
        </p:txBody>
      </p:sp>
    </p:spTree>
    <p:extLst>
      <p:ext uri="{BB962C8B-B14F-4D97-AF65-F5344CB8AC3E}">
        <p14:creationId xmlns:p14="http://schemas.microsoft.com/office/powerpoint/2010/main" xmlns="" val="9451317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Autofit/>
          </a:bodyPr>
          <a:lstStyle/>
          <a:p>
            <a:pPr algn="l"/>
            <a:r>
              <a:rPr lang="en-US" sz="2800" b="1" dirty="0">
                <a:latin typeface="+mn-lt"/>
              </a:rPr>
              <a:t>Oticon submission summary – Payment of Providers and Suppliers</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916077"/>
            <a:ext cx="10536675" cy="3793483"/>
          </a:xfrm>
        </p:spPr>
        <p:txBody>
          <a:bodyPr>
            <a:normAutofit lnSpcReduction="10000"/>
          </a:bodyPr>
          <a:lstStyle/>
          <a:p>
            <a:pPr algn="l">
              <a:lnSpc>
                <a:spcPct val="150000"/>
              </a:lnSpc>
            </a:pPr>
            <a:r>
              <a:rPr lang="en-ZA" sz="1600" dirty="0"/>
              <a:t>We propose further that:</a:t>
            </a:r>
          </a:p>
          <a:p>
            <a:pPr marL="665575" lvl="1" indent="-342900">
              <a:lnSpc>
                <a:spcPct val="150000"/>
              </a:lnSpc>
            </a:pPr>
            <a:r>
              <a:rPr lang="en-AU" sz="1600" dirty="0"/>
              <a:t>The term “All-inclusive” be defined.</a:t>
            </a:r>
          </a:p>
          <a:p>
            <a:pPr marL="665575" lvl="1" indent="-342900">
              <a:lnSpc>
                <a:spcPct val="150000"/>
              </a:lnSpc>
            </a:pPr>
            <a:r>
              <a:rPr lang="en-AU" sz="1600" dirty="0"/>
              <a:t>Time-lines for payment of suppliers must be set as is done with any contract.</a:t>
            </a:r>
          </a:p>
          <a:p>
            <a:pPr marL="665575" lvl="1" indent="-342900">
              <a:lnSpc>
                <a:spcPct val="150000"/>
              </a:lnSpc>
            </a:pPr>
            <a:r>
              <a:rPr lang="en-AU" sz="1600" dirty="0"/>
              <a:t>Consequences for non-timeous payments or recourses available to providers that have not been reimbursed must be established in the Bill</a:t>
            </a:r>
          </a:p>
          <a:p>
            <a:pPr marL="665575" lvl="1" indent="-342900">
              <a:lnSpc>
                <a:spcPct val="150000"/>
              </a:lnSpc>
            </a:pPr>
            <a:r>
              <a:rPr lang="en-AU" sz="1600" dirty="0"/>
              <a:t>Payment to providers must not be benchmarked with what the medical schemes are currently doing, as we believe the payment is insufficient, due to the fact that these provider have to work in private and public, rely on medical device profits and professionals fees to cross-subsidize offering in their businesses. This is currently possible for them to achieve due to multiple funder system, it can however not be achieved with a single funder system, as envisaged under the Bill, which is not supported.</a:t>
            </a:r>
          </a:p>
          <a:p>
            <a:pPr algn="l">
              <a:lnSpc>
                <a:spcPct val="150000"/>
              </a:lnSpc>
            </a:pPr>
            <a:endParaRPr lang="en-ZA" sz="1600" u="sng" dirty="0"/>
          </a:p>
        </p:txBody>
      </p:sp>
    </p:spTree>
    <p:extLst>
      <p:ext uri="{BB962C8B-B14F-4D97-AF65-F5344CB8AC3E}">
        <p14:creationId xmlns:p14="http://schemas.microsoft.com/office/powerpoint/2010/main" xmlns="" val="28135126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latin typeface="+mn-lt"/>
              </a:rPr>
              <a:t>Oticon submission summary – The Medicines Act</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633273"/>
            <a:ext cx="10536675" cy="3793483"/>
          </a:xfrm>
        </p:spPr>
        <p:txBody>
          <a:bodyPr>
            <a:normAutofit/>
          </a:bodyPr>
          <a:lstStyle/>
          <a:p>
            <a:pPr algn="l">
              <a:lnSpc>
                <a:spcPct val="150000"/>
              </a:lnSpc>
            </a:pPr>
            <a:r>
              <a:rPr lang="en-ZA" sz="1800" dirty="0"/>
              <a:t>Sections 18A and 18B of the Medicines and Related Substances Act 101 of 1965, (“Medicines Act”), prohibit the donation of and placement of devices. If the Device Regulations are passed with this prohibition still in tact, the government in tertiary and academic hospitals, will no longer benefit financially from such placements and donations which will result in increased cost to the Fund and ultimately the user.</a:t>
            </a:r>
          </a:p>
          <a:p>
            <a:pPr algn="l">
              <a:lnSpc>
                <a:spcPct val="150000"/>
              </a:lnSpc>
            </a:pPr>
            <a:endParaRPr lang="en-ZA" sz="1800" u="sng" dirty="0"/>
          </a:p>
          <a:p>
            <a:pPr algn="l">
              <a:lnSpc>
                <a:spcPct val="150000"/>
              </a:lnSpc>
            </a:pPr>
            <a:r>
              <a:rPr lang="en-ZA" sz="1800" u="sng" dirty="0"/>
              <a:t>Oticon proposes that the the Bill provides for the placement and donations to tertiary hospitals to alleviate the financial burden on the Fund.</a:t>
            </a:r>
          </a:p>
        </p:txBody>
      </p:sp>
    </p:spTree>
    <p:extLst>
      <p:ext uri="{BB962C8B-B14F-4D97-AF65-F5344CB8AC3E}">
        <p14:creationId xmlns:p14="http://schemas.microsoft.com/office/powerpoint/2010/main" xmlns="" val="9699882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a:xfrm>
            <a:off x="695324" y="905438"/>
            <a:ext cx="11210730" cy="553998"/>
          </a:xfrm>
        </p:spPr>
        <p:txBody>
          <a:bodyPr>
            <a:noAutofit/>
          </a:bodyPr>
          <a:lstStyle/>
          <a:p>
            <a:pPr algn="l"/>
            <a:r>
              <a:rPr lang="en-US" sz="2800" b="1" dirty="0">
                <a:latin typeface="+mn-lt"/>
              </a:rPr>
              <a:t>ABOUT OTICON SOUTH AFRICA - NOW DEMANT SOUTH AFRICA</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4" y="1465780"/>
            <a:ext cx="10909072" cy="3793483"/>
          </a:xfrm>
        </p:spPr>
        <p:txBody>
          <a:bodyPr>
            <a:noAutofit/>
          </a:bodyPr>
          <a:lstStyle/>
          <a:p>
            <a:pPr algn="l">
              <a:lnSpc>
                <a:spcPct val="170000"/>
              </a:lnSpc>
            </a:pPr>
            <a:r>
              <a:rPr lang="en-US" sz="1600" dirty="0"/>
              <a:t>The Offices of Oticon South Africa (Oticon) were opened in 1997 and the business employs 46 full time employees. </a:t>
            </a:r>
            <a:endParaRPr lang="en-ZA" sz="1600" dirty="0"/>
          </a:p>
          <a:p>
            <a:pPr algn="l">
              <a:lnSpc>
                <a:spcPct val="170000"/>
              </a:lnSpc>
            </a:pPr>
            <a:r>
              <a:rPr lang="en-US" sz="1600" dirty="0"/>
              <a:t>Our products are currently on tender with government, and government hospitals nationally are supplied with Oticon hearing aids. Oticon prides itself on the projects that it has co-run with the government, including patient advocacy days, training seminars to government audiologists and Ear, Nose &amp; Throat Surgeons.</a:t>
            </a:r>
            <a:endParaRPr lang="en-ZA" sz="1600" dirty="0"/>
          </a:p>
          <a:p>
            <a:pPr algn="l">
              <a:lnSpc>
                <a:spcPct val="170000"/>
              </a:lnSpc>
              <a:spcBef>
                <a:spcPts val="600"/>
              </a:spcBef>
            </a:pPr>
            <a:r>
              <a:rPr lang="en-US" sz="1600" dirty="0"/>
              <a:t>Oticon also donates a significant number of hearing aids every year to patients that cannot access government services and cannot afford to pay for private services.</a:t>
            </a:r>
            <a:endParaRPr lang="en-ZA" sz="1600" dirty="0"/>
          </a:p>
          <a:p>
            <a:pPr algn="l">
              <a:lnSpc>
                <a:spcPct val="170000"/>
              </a:lnSpc>
              <a:spcBef>
                <a:spcPts val="600"/>
              </a:spcBef>
            </a:pPr>
            <a:r>
              <a:rPr lang="en-US" sz="1600" dirty="0"/>
              <a:t>Oticon South Africa also distributes bone-anchored implant systems and cochlear implants under the banner of Oticon Medical, and balance and audiological equipment through </a:t>
            </a:r>
            <a:r>
              <a:rPr lang="en-US" sz="1600" dirty="0" err="1"/>
              <a:t>Interacoustics</a:t>
            </a:r>
            <a:r>
              <a:rPr lang="en-US" sz="1600" dirty="0"/>
              <a:t> and </a:t>
            </a:r>
            <a:r>
              <a:rPr lang="en-US" sz="1600" dirty="0" err="1"/>
              <a:t>MedRx</a:t>
            </a:r>
            <a:r>
              <a:rPr lang="en-US" sz="1600" dirty="0"/>
              <a:t> </a:t>
            </a:r>
            <a:r>
              <a:rPr lang="en-ZA" sz="1600" dirty="0"/>
              <a:t>in South Africa</a:t>
            </a:r>
            <a:endParaRPr lang="en-ZA" sz="1600" dirty="0">
              <a:effectLst/>
            </a:endParaRPr>
          </a:p>
          <a:p>
            <a:pPr algn="l">
              <a:lnSpc>
                <a:spcPct val="170000"/>
              </a:lnSpc>
              <a:spcBef>
                <a:spcPts val="600"/>
              </a:spcBef>
            </a:pPr>
            <a:r>
              <a:rPr lang="en-ZA" sz="1600" dirty="0"/>
              <a:t>Oticon is now named Demant South Africa (Demant), with effect from 24 March 2020. The name change was in line with a global decision, out of our headquarters in Denmark. The product offering and expertise remain the same as before, but now under the name of Demant.</a:t>
            </a:r>
            <a:endParaRPr lang="en-US" sz="1600" dirty="0"/>
          </a:p>
        </p:txBody>
      </p:sp>
    </p:spTree>
    <p:extLst>
      <p:ext uri="{BB962C8B-B14F-4D97-AF65-F5344CB8AC3E}">
        <p14:creationId xmlns:p14="http://schemas.microsoft.com/office/powerpoint/2010/main" xmlns="" val="15453636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a:xfrm>
            <a:off x="695324" y="628439"/>
            <a:ext cx="10536675" cy="553998"/>
          </a:xfrm>
        </p:spPr>
        <p:txBody>
          <a:bodyPr>
            <a:normAutofit/>
          </a:bodyPr>
          <a:lstStyle/>
          <a:p>
            <a:pPr algn="l"/>
            <a:r>
              <a:rPr lang="en-US" sz="2800" b="1" dirty="0">
                <a:latin typeface="+mn-lt"/>
              </a:rPr>
              <a:t>Oticon submission summary – Supply Chain and Delivery</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4" y="1182437"/>
            <a:ext cx="10536675" cy="3793483"/>
          </a:xfrm>
        </p:spPr>
        <p:txBody>
          <a:bodyPr>
            <a:noAutofit/>
          </a:bodyPr>
          <a:lstStyle/>
          <a:p>
            <a:pPr algn="l">
              <a:lnSpc>
                <a:spcPct val="160000"/>
              </a:lnSpc>
            </a:pPr>
            <a:r>
              <a:rPr lang="en-ZA" sz="1800" dirty="0"/>
              <a:t>Delivery direct to health facilities in terms of clause 38(6) of the Bill and listing of suppliers in formulary. The following must be considered and addressed:</a:t>
            </a:r>
            <a:endParaRPr lang="en-ZA" sz="1800" u="sng" dirty="0"/>
          </a:p>
          <a:p>
            <a:pPr marL="342900" indent="-342900" algn="l">
              <a:lnSpc>
                <a:spcPct val="160000"/>
              </a:lnSpc>
              <a:buFont typeface="Arial" panose="020B0604020202020204" pitchFamily="34" charset="0"/>
              <a:buChar char="•"/>
            </a:pPr>
            <a:r>
              <a:rPr lang="en-ZA" sz="1800" dirty="0"/>
              <a:t>There are currently depots with employees around the country who take delivery from suppliers, what will happen to the infrastructure and employees.</a:t>
            </a:r>
          </a:p>
          <a:p>
            <a:pPr marL="342900" indent="-342900" algn="l">
              <a:lnSpc>
                <a:spcPct val="160000"/>
              </a:lnSpc>
              <a:buFont typeface="Arial" panose="020B0604020202020204" pitchFamily="34" charset="0"/>
              <a:buChar char="•"/>
            </a:pPr>
            <a:r>
              <a:rPr lang="en-ZA" sz="1800" dirty="0"/>
              <a:t>The direct  delivery (</a:t>
            </a:r>
            <a:r>
              <a:rPr lang="en-US" sz="1800" dirty="0"/>
              <a:t>52 health districts, 227 district hospitals and over 4200 clinics)</a:t>
            </a:r>
            <a:r>
              <a:rPr lang="en-ZA" sz="1800" dirty="0"/>
              <a:t>  will be at additional costs to the supplier and which cost will be added to the price of the product, costing the fund more.</a:t>
            </a:r>
          </a:p>
          <a:p>
            <a:pPr marL="342900" indent="-342900" algn="l">
              <a:lnSpc>
                <a:spcPct val="160000"/>
              </a:lnSpc>
              <a:buFont typeface="Arial" panose="020B0604020202020204" pitchFamily="34" charset="0"/>
              <a:buChar char="•"/>
            </a:pPr>
            <a:r>
              <a:rPr lang="en-ZA" sz="1800" dirty="0"/>
              <a:t>Listing of suppliers under formulary- if the listing results in non-listed bidders not being allowed to bid, then the listing will be unfair and anti-competitive in contravention of section 27 of the Constitution.</a:t>
            </a:r>
          </a:p>
          <a:p>
            <a:pPr marL="342900" indent="-342900" algn="l">
              <a:lnSpc>
                <a:spcPct val="160000"/>
              </a:lnSpc>
              <a:buFont typeface="Arial" panose="020B0604020202020204" pitchFamily="34" charset="0"/>
              <a:buChar char="•"/>
            </a:pPr>
            <a:r>
              <a:rPr lang="en-ZA" sz="1800" dirty="0"/>
              <a:t>What will happen to data currently on the database of the Central Supplier Database.</a:t>
            </a:r>
          </a:p>
        </p:txBody>
      </p:sp>
    </p:spTree>
    <p:extLst>
      <p:ext uri="{BB962C8B-B14F-4D97-AF65-F5344CB8AC3E}">
        <p14:creationId xmlns:p14="http://schemas.microsoft.com/office/powerpoint/2010/main" xmlns="" val="1816420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latin typeface="+mn-lt"/>
              </a:rPr>
              <a:t>Oticon submission summary – SAHPRA</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652126"/>
            <a:ext cx="10536675" cy="3793483"/>
          </a:xfrm>
        </p:spPr>
        <p:txBody>
          <a:bodyPr>
            <a:normAutofit fontScale="77500" lnSpcReduction="20000"/>
          </a:bodyPr>
          <a:lstStyle/>
          <a:p>
            <a:pPr algn="l">
              <a:lnSpc>
                <a:spcPct val="170000"/>
              </a:lnSpc>
            </a:pPr>
            <a:r>
              <a:rPr lang="en-US" dirty="0"/>
              <a:t>Approval of medicines /products takes between 6 to 10 years</a:t>
            </a:r>
            <a:r>
              <a:rPr lang="en-ZA" dirty="0"/>
              <a:t> </a:t>
            </a:r>
            <a:r>
              <a:rPr lang="en-US" dirty="0"/>
              <a:t>by the time an innovative product is registered, it is no longer innovative as there would be a new and better product meaning our people have to use outdated products. The delays are a contravention of section 27 of the Constitution that promotes the progressive realization of access to healthcare.</a:t>
            </a:r>
          </a:p>
          <a:p>
            <a:pPr algn="l">
              <a:lnSpc>
                <a:spcPct val="170000"/>
              </a:lnSpc>
            </a:pPr>
            <a:r>
              <a:rPr lang="en-US" b="1" dirty="0"/>
              <a:t>Oticon proposes that:</a:t>
            </a:r>
          </a:p>
          <a:p>
            <a:pPr marL="342900" indent="-342900" algn="l">
              <a:lnSpc>
                <a:spcPct val="170000"/>
              </a:lnSpc>
              <a:buFont typeface="Arial" panose="020B0604020202020204" pitchFamily="34" charset="0"/>
              <a:buChar char="•"/>
            </a:pPr>
            <a:r>
              <a:rPr lang="en-US" dirty="0"/>
              <a:t> the cause of the delays be investigated and corrected</a:t>
            </a:r>
          </a:p>
          <a:p>
            <a:pPr marL="342900" indent="-342900" algn="l">
              <a:lnSpc>
                <a:spcPct val="170000"/>
              </a:lnSpc>
              <a:buFont typeface="Arial" panose="020B0604020202020204" pitchFamily="34" charset="0"/>
              <a:buChar char="•"/>
            </a:pPr>
            <a:r>
              <a:rPr lang="en-US" dirty="0"/>
              <a:t>The decision-makers in the registration of new products, be qualified to do so and must include clinicians.</a:t>
            </a:r>
          </a:p>
          <a:p>
            <a:pPr marL="342900" indent="-342900" algn="l">
              <a:lnSpc>
                <a:spcPct val="170000"/>
              </a:lnSpc>
              <a:buFont typeface="Arial" panose="020B0604020202020204" pitchFamily="34" charset="0"/>
              <a:buChar char="•"/>
            </a:pPr>
            <a:r>
              <a:rPr lang="en-US" dirty="0"/>
              <a:t>The accreditation of service providers be left to SAHPRA and the PFMA.</a:t>
            </a:r>
          </a:p>
          <a:p>
            <a:pPr algn="l">
              <a:lnSpc>
                <a:spcPct val="170000"/>
              </a:lnSpc>
            </a:pPr>
            <a:endParaRPr lang="en-ZA" dirty="0"/>
          </a:p>
        </p:txBody>
      </p:sp>
    </p:spTree>
    <p:extLst>
      <p:ext uri="{BB962C8B-B14F-4D97-AF65-F5344CB8AC3E}">
        <p14:creationId xmlns:p14="http://schemas.microsoft.com/office/powerpoint/2010/main" xmlns="" val="34800304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latin typeface="+mn-lt"/>
              </a:rPr>
              <a:t>Oticon submission summary – BBBEE</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718114"/>
            <a:ext cx="10536675" cy="3793483"/>
          </a:xfrm>
        </p:spPr>
        <p:txBody>
          <a:bodyPr>
            <a:normAutofit/>
          </a:bodyPr>
          <a:lstStyle/>
          <a:p>
            <a:pPr algn="l">
              <a:lnSpc>
                <a:spcPct val="150000"/>
              </a:lnSpc>
            </a:pPr>
            <a:r>
              <a:rPr lang="en-US" sz="1800" dirty="0"/>
              <a:t>The procurement systems proposed in the Bill are supported, except where otherwise indicated. Oticon proposes that:</a:t>
            </a:r>
          </a:p>
          <a:p>
            <a:pPr marL="665575" lvl="1" indent="-342900">
              <a:lnSpc>
                <a:spcPct val="150000"/>
              </a:lnSpc>
            </a:pPr>
            <a:r>
              <a:rPr lang="en-US" sz="1800" dirty="0"/>
              <a:t>Tender splitting be allowed to allow smaller suppliers without national footprint to participate and and this will increase competition and ultimately benefit the Fund.</a:t>
            </a:r>
          </a:p>
          <a:p>
            <a:pPr marL="665575" lvl="1" indent="-342900">
              <a:lnSpc>
                <a:spcPct val="150000"/>
              </a:lnSpc>
            </a:pPr>
            <a:r>
              <a:rPr lang="en-US" sz="1800" dirty="0"/>
              <a:t>In order to prevent exclusion of certain products from being supplied to the country by multinational suppliers who struggle to achieve required BBBEE scores in order to participate in tenders, there must be open engagement with these companies by government in order to reach a practical consensus in the interest of the public.</a:t>
            </a:r>
            <a:endParaRPr lang="en-ZA" sz="1800" dirty="0"/>
          </a:p>
        </p:txBody>
      </p:sp>
    </p:spTree>
    <p:extLst>
      <p:ext uri="{BB962C8B-B14F-4D97-AF65-F5344CB8AC3E}">
        <p14:creationId xmlns:p14="http://schemas.microsoft.com/office/powerpoint/2010/main" xmlns="" val="6179441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latin typeface="+mn-lt"/>
              </a:rPr>
              <a:t>Oticon submission summary – Benefit Package Development</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4" y="1614419"/>
            <a:ext cx="10536675" cy="3793483"/>
          </a:xfrm>
        </p:spPr>
        <p:txBody>
          <a:bodyPr>
            <a:normAutofit fontScale="92500" lnSpcReduction="10000"/>
          </a:bodyPr>
          <a:lstStyle/>
          <a:p>
            <a:pPr algn="l">
              <a:lnSpc>
                <a:spcPct val="150000"/>
              </a:lnSpc>
            </a:pPr>
            <a:r>
              <a:rPr lang="en-US" sz="1800" dirty="0"/>
              <a:t>The composition of BAC and other bodies listed under the Bill to develop, benefit packages, Formulary EML and EEL should be people who are qualified to make appropriate determination on these items, e.g., people in the health sector, clinicians, in order to ensure credibility of the processes and appropriate determination of benefit to users.</a:t>
            </a:r>
          </a:p>
          <a:p>
            <a:pPr algn="l">
              <a:lnSpc>
                <a:spcPct val="160000"/>
              </a:lnSpc>
            </a:pPr>
            <a:r>
              <a:rPr lang="en-US" sz="1800" dirty="0"/>
              <a:t>In addition to clinical efficacies and others, a holistic Health Technology Assessment must be applied to consider the product benefit and not just the cost aspect, as is currently often the case. </a:t>
            </a:r>
          </a:p>
          <a:p>
            <a:pPr algn="l">
              <a:lnSpc>
                <a:spcPct val="160000"/>
              </a:lnSpc>
            </a:pPr>
            <a:r>
              <a:rPr lang="en-US" sz="1800" dirty="0"/>
              <a:t>We propose that HTA be applied prior to implementation of the NHI to determine upfront what will be provided and what will not, so that there is no gap or mismatch between what has been promised as free, comprehensive benefit package and what is actually delivered.</a:t>
            </a:r>
            <a:endParaRPr lang="en-ZA" sz="1800" dirty="0"/>
          </a:p>
        </p:txBody>
      </p:sp>
    </p:spTree>
    <p:extLst>
      <p:ext uri="{BB962C8B-B14F-4D97-AF65-F5344CB8AC3E}">
        <p14:creationId xmlns:p14="http://schemas.microsoft.com/office/powerpoint/2010/main" xmlns="" val="4556035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a:xfrm>
            <a:off x="695324" y="815325"/>
            <a:ext cx="10536675" cy="553998"/>
          </a:xfrm>
        </p:spPr>
        <p:txBody>
          <a:bodyPr>
            <a:normAutofit/>
          </a:bodyPr>
          <a:lstStyle/>
          <a:p>
            <a:pPr algn="l"/>
            <a:r>
              <a:rPr lang="en-US" sz="2800" b="1" dirty="0">
                <a:latin typeface="+mn-lt"/>
              </a:rPr>
              <a:t>Oticon submission summary – Governance</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362333"/>
            <a:ext cx="10536675" cy="3793483"/>
          </a:xfrm>
        </p:spPr>
        <p:txBody>
          <a:bodyPr>
            <a:noAutofit/>
          </a:bodyPr>
          <a:lstStyle/>
          <a:p>
            <a:pPr algn="l">
              <a:lnSpc>
                <a:spcPct val="150000"/>
              </a:lnSpc>
            </a:pPr>
            <a:r>
              <a:rPr lang="en-US" sz="1800" dirty="0"/>
              <a:t>The various consultations with the Minister by the Fund in a lot of the operational functions e.g., purchasing of health care services, benefit design and development of formulary, etc. </a:t>
            </a:r>
          </a:p>
          <a:p>
            <a:pPr algn="l">
              <a:lnSpc>
                <a:spcPct val="150000"/>
              </a:lnSpc>
            </a:pPr>
            <a:r>
              <a:rPr lang="en-US" sz="1800" dirty="0"/>
              <a:t>These consultations are not encouraged by Oticon on the following bases:</a:t>
            </a:r>
          </a:p>
          <a:p>
            <a:pPr marL="665575" lvl="1" indent="-342900">
              <a:lnSpc>
                <a:spcPct val="150000"/>
              </a:lnSpc>
            </a:pPr>
            <a:r>
              <a:rPr lang="en-US" sz="1800" dirty="0"/>
              <a:t>The extent and process according to which the Minister will input is not defined.</a:t>
            </a:r>
          </a:p>
          <a:p>
            <a:pPr marL="665575" lvl="1" indent="-342900">
              <a:lnSpc>
                <a:spcPct val="150000"/>
              </a:lnSpc>
            </a:pPr>
            <a:r>
              <a:rPr lang="en-US" sz="1800" dirty="0"/>
              <a:t>The issues are highly operational, and the Board should be qualified and equipped, skilled to deal with without the Minister</a:t>
            </a:r>
          </a:p>
          <a:p>
            <a:pPr marL="665575" lvl="1" indent="-342900">
              <a:lnSpc>
                <a:spcPct val="150000"/>
              </a:lnSpc>
            </a:pPr>
            <a:r>
              <a:rPr lang="en-US" sz="1800" dirty="0"/>
              <a:t>Consultation will create red tape and potentially bottlenecks and unnecessary delays due to the Minister’s numerous other commitments.</a:t>
            </a:r>
          </a:p>
          <a:p>
            <a:pPr algn="l">
              <a:lnSpc>
                <a:spcPct val="150000"/>
              </a:lnSpc>
            </a:pPr>
            <a:r>
              <a:rPr lang="en-ZA" sz="1800" dirty="0"/>
              <a:t>Oticon proposes that principles of good corporate governance be implemented and the board deal with these issues without the Minister. </a:t>
            </a:r>
            <a:r>
              <a:rPr lang="en-ZA" sz="1800" u="sng" dirty="0"/>
              <a:t>We cannot afford any unnecessary delays to delivery of healthcare to our people</a:t>
            </a:r>
            <a:r>
              <a:rPr lang="en-ZA" sz="1800" dirty="0"/>
              <a:t>.</a:t>
            </a:r>
          </a:p>
        </p:txBody>
      </p:sp>
    </p:spTree>
    <p:extLst>
      <p:ext uri="{BB962C8B-B14F-4D97-AF65-F5344CB8AC3E}">
        <p14:creationId xmlns:p14="http://schemas.microsoft.com/office/powerpoint/2010/main" xmlns="" val="1661538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latin typeface="+mn-lt"/>
              </a:rPr>
              <a:t>CONCLUSION</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343722"/>
            <a:ext cx="10536675" cy="3793483"/>
          </a:xfrm>
        </p:spPr>
        <p:txBody>
          <a:bodyPr>
            <a:noAutofit/>
          </a:bodyPr>
          <a:lstStyle/>
          <a:p>
            <a:pPr algn="l">
              <a:lnSpc>
                <a:spcPct val="160000"/>
              </a:lnSpc>
            </a:pPr>
            <a:r>
              <a:rPr lang="en-US" sz="1800" dirty="0"/>
              <a:t>The National Health Insurance is supported by Oticon. It must be implemented in line with section 27 of the Constitution. The progressive realization of everyone’s right to access to health care will be achieved if we, among others:</a:t>
            </a:r>
          </a:p>
          <a:p>
            <a:pPr marL="665575" lvl="1" indent="-342900">
              <a:lnSpc>
                <a:spcPct val="160000"/>
              </a:lnSpc>
            </a:pPr>
            <a:r>
              <a:rPr lang="en-US" sz="1600" dirty="0"/>
              <a:t>Implement a multi-funder system and choice by users;</a:t>
            </a:r>
          </a:p>
          <a:p>
            <a:pPr marL="665575" lvl="1" indent="-342900">
              <a:lnSpc>
                <a:spcPct val="160000"/>
              </a:lnSpc>
            </a:pPr>
            <a:r>
              <a:rPr lang="en-US" sz="1600" dirty="0"/>
              <a:t>Ensure sustainable funding to the NHIF prior to implementation of NHI;</a:t>
            </a:r>
          </a:p>
          <a:p>
            <a:pPr marL="665575" lvl="1" indent="-342900">
              <a:lnSpc>
                <a:spcPct val="160000"/>
              </a:lnSpc>
            </a:pPr>
            <a:r>
              <a:rPr lang="en-US" sz="1600" dirty="0"/>
              <a:t>Implement fair and transparent procurement processes;</a:t>
            </a:r>
          </a:p>
          <a:p>
            <a:pPr marL="665575" lvl="1" indent="-342900">
              <a:lnSpc>
                <a:spcPct val="160000"/>
              </a:lnSpc>
            </a:pPr>
            <a:r>
              <a:rPr lang="en-US" sz="1600" dirty="0"/>
              <a:t>Incorporate and fund innovative products and utilize Health Technology Assessment in our healthcare;</a:t>
            </a:r>
          </a:p>
          <a:p>
            <a:pPr marL="665575" lvl="1" indent="-342900">
              <a:lnSpc>
                <a:spcPct val="160000"/>
              </a:lnSpc>
            </a:pPr>
            <a:r>
              <a:rPr lang="en-US" sz="1600" dirty="0"/>
              <a:t>Provide for a system to support fee for outcomes and pay suppliers timeously;</a:t>
            </a:r>
          </a:p>
          <a:p>
            <a:pPr marL="665575" lvl="1" indent="-342900">
              <a:lnSpc>
                <a:spcPct val="160000"/>
              </a:lnSpc>
            </a:pPr>
            <a:r>
              <a:rPr lang="en-US" sz="1600" dirty="0"/>
              <a:t>Ensure that SAHPRA is supported, and product approval is efficient;</a:t>
            </a:r>
          </a:p>
          <a:p>
            <a:pPr marL="665575" lvl="1" indent="-342900">
              <a:lnSpc>
                <a:spcPct val="160000"/>
              </a:lnSpc>
            </a:pPr>
            <a:r>
              <a:rPr lang="en-US" sz="1600" dirty="0"/>
              <a:t>Negotiate with multinational suppliers on entry barriers to promote access to product;</a:t>
            </a:r>
          </a:p>
          <a:p>
            <a:pPr marL="665575" lvl="1" indent="-342900">
              <a:lnSpc>
                <a:spcPct val="160000"/>
              </a:lnSpc>
            </a:pPr>
            <a:r>
              <a:rPr lang="en-US" sz="1600" dirty="0"/>
              <a:t>Promote accountability and good governance and avoid delays to access.</a:t>
            </a:r>
          </a:p>
          <a:p>
            <a:pPr marL="342900" indent="-342900" algn="l">
              <a:lnSpc>
                <a:spcPct val="160000"/>
              </a:lnSpc>
              <a:buFont typeface="Arial" panose="020B0604020202020204" pitchFamily="34" charset="0"/>
              <a:buChar char="•"/>
            </a:pPr>
            <a:endParaRPr lang="en-US" sz="1600" dirty="0"/>
          </a:p>
          <a:p>
            <a:pPr marL="342900" indent="-342900" algn="l">
              <a:lnSpc>
                <a:spcPct val="160000"/>
              </a:lnSpc>
              <a:buFont typeface="Arial" panose="020B0604020202020204" pitchFamily="34" charset="0"/>
              <a:buChar char="•"/>
            </a:pPr>
            <a:endParaRPr lang="en-US" sz="1600" dirty="0"/>
          </a:p>
          <a:p>
            <a:pPr algn="l">
              <a:lnSpc>
                <a:spcPct val="160000"/>
              </a:lnSpc>
            </a:pPr>
            <a:endParaRPr lang="en-US" sz="1800" dirty="0"/>
          </a:p>
        </p:txBody>
      </p:sp>
    </p:spTree>
    <p:extLst>
      <p:ext uri="{BB962C8B-B14F-4D97-AF65-F5344CB8AC3E}">
        <p14:creationId xmlns:p14="http://schemas.microsoft.com/office/powerpoint/2010/main" xmlns="" val="328521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t>Discussion Points</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4" y="1459436"/>
            <a:ext cx="11314424" cy="4847095"/>
          </a:xfrm>
        </p:spPr>
        <p:txBody>
          <a:bodyPr>
            <a:normAutofit/>
          </a:bodyPr>
          <a:lstStyle/>
          <a:p>
            <a:pPr marL="457200" indent="-457200" algn="l">
              <a:buAutoNum type="arabicPeriod"/>
            </a:pPr>
            <a:r>
              <a:rPr lang="en-US" sz="1800" dirty="0"/>
              <a:t>Background</a:t>
            </a:r>
          </a:p>
          <a:p>
            <a:pPr marL="457200" indent="-457200" algn="l">
              <a:buAutoNum type="arabicPeriod"/>
            </a:pPr>
            <a:r>
              <a:rPr lang="en-US" sz="1800" dirty="0"/>
              <a:t>Inclusion of audiology in the Bill and Prescribed Minimum Benefits</a:t>
            </a:r>
          </a:p>
          <a:p>
            <a:pPr marL="457200" indent="-457200" algn="l">
              <a:buAutoNum type="arabicPeriod"/>
            </a:pPr>
            <a:r>
              <a:rPr lang="en-US" sz="1800" dirty="0"/>
              <a:t>Submission Summary</a:t>
            </a:r>
          </a:p>
          <a:p>
            <a:pPr marL="914400" lvl="1" indent="-457200"/>
            <a:r>
              <a:rPr lang="en-US" sz="1800" dirty="0"/>
              <a:t>Pricing</a:t>
            </a:r>
          </a:p>
          <a:p>
            <a:pPr marL="914400" lvl="1" indent="-457200"/>
            <a:r>
              <a:rPr lang="en-US" sz="1800" dirty="0"/>
              <a:t>Innovation</a:t>
            </a:r>
          </a:p>
          <a:p>
            <a:pPr marL="914400" lvl="1" indent="-457200"/>
            <a:r>
              <a:rPr lang="en-US" sz="1800" dirty="0"/>
              <a:t>Formulary</a:t>
            </a:r>
          </a:p>
          <a:p>
            <a:pPr marL="914400" lvl="1" indent="-457200"/>
            <a:r>
              <a:rPr lang="en-US" sz="1800" dirty="0"/>
              <a:t>Treatment Guidelines</a:t>
            </a:r>
          </a:p>
          <a:p>
            <a:pPr marL="914400" lvl="1" indent="-457200"/>
            <a:r>
              <a:rPr lang="en-US" sz="1800" dirty="0"/>
              <a:t>Payment of providers</a:t>
            </a:r>
          </a:p>
          <a:p>
            <a:pPr marL="914400" lvl="1" indent="-457200"/>
            <a:r>
              <a:rPr lang="en-US" sz="1800" dirty="0"/>
              <a:t>Medicines Act</a:t>
            </a:r>
          </a:p>
          <a:p>
            <a:pPr marL="914400" lvl="1" indent="-457200"/>
            <a:r>
              <a:rPr lang="en-US" sz="1800" dirty="0"/>
              <a:t>Supply Chain</a:t>
            </a:r>
          </a:p>
          <a:p>
            <a:pPr marL="914400" lvl="1" indent="-457200"/>
            <a:r>
              <a:rPr lang="en-US" sz="1800" dirty="0"/>
              <a:t>SAHPRA</a:t>
            </a:r>
          </a:p>
          <a:p>
            <a:pPr marL="914400" lvl="1" indent="-457200"/>
            <a:r>
              <a:rPr lang="en-US" sz="1800" dirty="0"/>
              <a:t>BBBEE</a:t>
            </a:r>
          </a:p>
          <a:p>
            <a:pPr marL="914400" lvl="1" indent="-457200"/>
            <a:r>
              <a:rPr lang="en-US" sz="1800" dirty="0"/>
              <a:t>Benefit Package</a:t>
            </a:r>
          </a:p>
          <a:p>
            <a:pPr marL="914400" lvl="1" indent="-457200"/>
            <a:r>
              <a:rPr lang="en-US" sz="1800" dirty="0"/>
              <a:t>Governance</a:t>
            </a:r>
          </a:p>
          <a:p>
            <a:pPr marL="457200" indent="-457200" algn="l">
              <a:buAutoNum type="arabicPeriod"/>
            </a:pPr>
            <a:r>
              <a:rPr lang="en-US" sz="1800" dirty="0"/>
              <a:t>Conclusion</a:t>
            </a:r>
            <a:endParaRPr lang="en-ZA" sz="1800" dirty="0"/>
          </a:p>
          <a:p>
            <a:pPr algn="l"/>
            <a:endParaRPr lang="en-ZA" sz="1800" dirty="0"/>
          </a:p>
          <a:p>
            <a:pPr algn="l"/>
            <a:endParaRPr lang="en-US" sz="1800" dirty="0"/>
          </a:p>
        </p:txBody>
      </p:sp>
    </p:spTree>
    <p:extLst>
      <p:ext uri="{BB962C8B-B14F-4D97-AF65-F5344CB8AC3E}">
        <p14:creationId xmlns:p14="http://schemas.microsoft.com/office/powerpoint/2010/main" xmlns="" val="17604491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latin typeface="+mn-lt"/>
              </a:rPr>
              <a:t>Background</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4" y="1459436"/>
            <a:ext cx="10536675" cy="4422890"/>
          </a:xfrm>
        </p:spPr>
        <p:txBody>
          <a:bodyPr>
            <a:normAutofit/>
          </a:bodyPr>
          <a:lstStyle/>
          <a:p>
            <a:pPr algn="just">
              <a:lnSpc>
                <a:spcPct val="160000"/>
              </a:lnSpc>
            </a:pPr>
            <a:r>
              <a:rPr lang="en-ZA" sz="1800" dirty="0"/>
              <a:t>Demant fully supports the concept of NHI and its ideal </a:t>
            </a:r>
            <a:r>
              <a:rPr lang="en-US" sz="1800" dirty="0"/>
              <a:t>to </a:t>
            </a:r>
            <a:r>
              <a:rPr lang="en-ZA" sz="1800" dirty="0"/>
              <a:t>accomplish the progressive realisation of the right of access to healthcare services as set out under section 27 of the Constitution. </a:t>
            </a:r>
          </a:p>
          <a:p>
            <a:pPr algn="just">
              <a:lnSpc>
                <a:spcPct val="160000"/>
              </a:lnSpc>
            </a:pPr>
            <a:r>
              <a:rPr lang="en-ZA" sz="1800" dirty="0"/>
              <a:t>The Bill’s attempt to bridge the gap between privately funded individuals and individuals accessing healthcare in the public sector is well appreciated, if done in a way that there is progression on both ends.</a:t>
            </a:r>
          </a:p>
          <a:p>
            <a:pPr algn="just">
              <a:lnSpc>
                <a:spcPct val="160000"/>
              </a:lnSpc>
            </a:pPr>
            <a:r>
              <a:rPr lang="en-ZA" sz="1800" dirty="0"/>
              <a:t>We do believe however that the implementation of the NHI must be subject to the recognition of the gaps and implementation of the recommendations highlighted by the Health Market Inquiry, the Davies Committee and recommendations made by industry and those contained in our submission of 29 November 2019.</a:t>
            </a:r>
            <a:endParaRPr lang="en-US" sz="1800" dirty="0"/>
          </a:p>
        </p:txBody>
      </p:sp>
    </p:spTree>
    <p:extLst>
      <p:ext uri="{BB962C8B-B14F-4D97-AF65-F5344CB8AC3E}">
        <p14:creationId xmlns:p14="http://schemas.microsoft.com/office/powerpoint/2010/main" xmlns="" val="35630386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xmlns="" id="{B9382ECC-82F8-4244-AF9A-74A7CD5B80EC}"/>
              </a:ext>
            </a:extLst>
          </p:cNvPr>
          <p:cNvSpPr>
            <a:spLocks noGrp="1"/>
          </p:cNvSpPr>
          <p:nvPr>
            <p:ph type="title"/>
          </p:nvPr>
        </p:nvSpPr>
        <p:spPr>
          <a:xfrm>
            <a:off x="695324" y="905438"/>
            <a:ext cx="10536675" cy="1163395"/>
          </a:xfrm>
        </p:spPr>
        <p:txBody>
          <a:bodyPr/>
          <a:lstStyle/>
          <a:p>
            <a:r>
              <a:rPr lang="en-ZA" sz="2800" dirty="0"/>
              <a:t>Audiology as a Prescribed Minimum Benefit PMBs - Prevalence</a:t>
            </a:r>
            <a:br>
              <a:rPr lang="en-ZA" sz="2800" dirty="0"/>
            </a:br>
            <a:endParaRPr lang="en-ZA" sz="2800" dirty="0"/>
          </a:p>
        </p:txBody>
      </p:sp>
      <p:sp>
        <p:nvSpPr>
          <p:cNvPr id="5" name="Content Placeholder 4">
            <a:extLst>
              <a:ext uri="{FF2B5EF4-FFF2-40B4-BE49-F238E27FC236}">
                <a16:creationId xmlns:a16="http://schemas.microsoft.com/office/drawing/2014/main" xmlns="" id="{9914DB14-5560-4559-8EE8-3882BFAE243F}"/>
              </a:ext>
            </a:extLst>
          </p:cNvPr>
          <p:cNvSpPr>
            <a:spLocks noGrp="1"/>
          </p:cNvSpPr>
          <p:nvPr>
            <p:ph idx="1"/>
          </p:nvPr>
        </p:nvSpPr>
        <p:spPr>
          <a:xfrm>
            <a:off x="695323" y="1876275"/>
            <a:ext cx="10536675" cy="3793483"/>
          </a:xfrm>
        </p:spPr>
        <p:txBody>
          <a:bodyPr>
            <a:normAutofit/>
          </a:bodyPr>
          <a:lstStyle/>
          <a:p>
            <a:pPr>
              <a:lnSpc>
                <a:spcPct val="150000"/>
              </a:lnSpc>
            </a:pPr>
            <a:r>
              <a:rPr lang="en-ZA" sz="1800" dirty="0"/>
              <a:t>Over 5% of the world’s population </a:t>
            </a:r>
            <a:r>
              <a:rPr lang="en-ZA" sz="1800" b="1" dirty="0"/>
              <a:t>require rehabilitation </a:t>
            </a:r>
            <a:r>
              <a:rPr lang="en-ZA" sz="1800" dirty="0"/>
              <a:t>to address their ‘disabling’ hearing loss (432 million adults and 34 million children). </a:t>
            </a:r>
          </a:p>
          <a:p>
            <a:pPr>
              <a:lnSpc>
                <a:spcPct val="150000"/>
              </a:lnSpc>
            </a:pPr>
            <a:r>
              <a:rPr lang="en-ZA" sz="1800" dirty="0"/>
              <a:t>It is estimated that by 2050 over 700 million people – or one in every ten people – will have disabling hearing loss.</a:t>
            </a:r>
          </a:p>
          <a:p>
            <a:pPr>
              <a:lnSpc>
                <a:spcPct val="150000"/>
              </a:lnSpc>
            </a:pPr>
            <a:r>
              <a:rPr lang="en-ZA" sz="1800" dirty="0"/>
              <a:t>Over 1 billion young adults are at risk of permanent, avoidable hearing loss due to unsafe listening practices</a:t>
            </a:r>
          </a:p>
          <a:p>
            <a:pPr>
              <a:lnSpc>
                <a:spcPct val="150000"/>
              </a:lnSpc>
            </a:pPr>
            <a:r>
              <a:rPr lang="en-ZA" sz="1800" dirty="0"/>
              <a:t>Nearly 80% of people with disabling hearing loss live in low- and middle-income countries </a:t>
            </a:r>
            <a:r>
              <a:rPr lang="en-ZA" sz="1800" i="1" dirty="0"/>
              <a:t> (including Sub-Saharan Africa). </a:t>
            </a:r>
          </a:p>
          <a:p>
            <a:pPr>
              <a:lnSpc>
                <a:spcPct val="150000"/>
              </a:lnSpc>
            </a:pPr>
            <a:endParaRPr lang="en-ZA" sz="1800" dirty="0"/>
          </a:p>
          <a:p>
            <a:pPr marL="0" indent="0">
              <a:lnSpc>
                <a:spcPct val="150000"/>
              </a:lnSpc>
              <a:buNone/>
            </a:pPr>
            <a:endParaRPr lang="en-ZA" sz="1800" i="1" dirty="0"/>
          </a:p>
          <a:p>
            <a:pPr>
              <a:lnSpc>
                <a:spcPct val="150000"/>
              </a:lnSpc>
            </a:pPr>
            <a:endParaRPr lang="en-ZA" sz="1800" dirty="0"/>
          </a:p>
        </p:txBody>
      </p:sp>
      <p:sp>
        <p:nvSpPr>
          <p:cNvPr id="6" name="TextBox 5">
            <a:extLst>
              <a:ext uri="{FF2B5EF4-FFF2-40B4-BE49-F238E27FC236}">
                <a16:creationId xmlns:a16="http://schemas.microsoft.com/office/drawing/2014/main" xmlns="" id="{D26708B0-7C60-448E-AB3C-251C0E73DC25}"/>
              </a:ext>
            </a:extLst>
          </p:cNvPr>
          <p:cNvSpPr txBox="1"/>
          <p:nvPr/>
        </p:nvSpPr>
        <p:spPr>
          <a:xfrm>
            <a:off x="9898145" y="6168391"/>
            <a:ext cx="1998272" cy="384721"/>
          </a:xfrm>
          <a:prstGeom prst="rect">
            <a:avLst/>
          </a:prstGeom>
          <a:noFill/>
        </p:spPr>
        <p:txBody>
          <a:bodyPr wrap="square" rtlCol="0">
            <a:spAutoFit/>
          </a:bodyPr>
          <a:lstStyle/>
          <a:p>
            <a:r>
              <a:rPr lang="en-ZA" sz="1900" i="1" dirty="0">
                <a:solidFill>
                  <a:schemeClr val="accent1"/>
                </a:solidFill>
                <a:latin typeface="+mj-lt"/>
              </a:rPr>
              <a:t>WHO, 2021</a:t>
            </a:r>
          </a:p>
        </p:txBody>
      </p:sp>
    </p:spTree>
    <p:extLst>
      <p:ext uri="{BB962C8B-B14F-4D97-AF65-F5344CB8AC3E}">
        <p14:creationId xmlns:p14="http://schemas.microsoft.com/office/powerpoint/2010/main" xmlns="" val="298145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xmlns="" id="{D7905CBE-47AE-4790-84A5-8A6A01FC8158}"/>
              </a:ext>
            </a:extLst>
          </p:cNvPr>
          <p:cNvSpPr>
            <a:spLocks noGrp="1"/>
          </p:cNvSpPr>
          <p:nvPr>
            <p:ph type="title"/>
          </p:nvPr>
        </p:nvSpPr>
        <p:spPr>
          <a:xfrm>
            <a:off x="695324" y="905438"/>
            <a:ext cx="10536675" cy="1163395"/>
          </a:xfrm>
        </p:spPr>
        <p:txBody>
          <a:bodyPr/>
          <a:lstStyle/>
          <a:p>
            <a:r>
              <a:rPr lang="en-US" sz="2800" b="1" dirty="0">
                <a:latin typeface="+mn-lt"/>
              </a:rPr>
              <a:t>Audiology as a Prescribed Minimum Benefit PMBs – Individual Impact</a:t>
            </a:r>
            <a:br>
              <a:rPr lang="en-US" sz="2800" b="1" dirty="0">
                <a:latin typeface="+mn-lt"/>
              </a:rPr>
            </a:br>
            <a:endParaRPr lang="en-ZA" sz="2800" dirty="0"/>
          </a:p>
        </p:txBody>
      </p:sp>
      <p:sp>
        <p:nvSpPr>
          <p:cNvPr id="3" name="Content Placeholder 2">
            <a:extLst>
              <a:ext uri="{FF2B5EF4-FFF2-40B4-BE49-F238E27FC236}">
                <a16:creationId xmlns:a16="http://schemas.microsoft.com/office/drawing/2014/main" xmlns="" id="{2118C215-C2F2-4AB3-AE47-A2172E368BD4}"/>
              </a:ext>
            </a:extLst>
          </p:cNvPr>
          <p:cNvSpPr>
            <a:spLocks noGrp="1"/>
          </p:cNvSpPr>
          <p:nvPr>
            <p:ph idx="1"/>
          </p:nvPr>
        </p:nvSpPr>
        <p:spPr>
          <a:xfrm>
            <a:off x="695324" y="1760723"/>
            <a:ext cx="10946779" cy="4687211"/>
          </a:xfrm>
        </p:spPr>
        <p:txBody>
          <a:bodyPr>
            <a:normAutofit fontScale="92500" lnSpcReduction="20000"/>
          </a:bodyPr>
          <a:lstStyle/>
          <a:p>
            <a:pPr>
              <a:lnSpc>
                <a:spcPct val="150000"/>
              </a:lnSpc>
            </a:pPr>
            <a:r>
              <a:rPr lang="en-ZA" sz="2100" b="1" dirty="0"/>
              <a:t>Cognition, Education and Employment</a:t>
            </a:r>
          </a:p>
          <a:p>
            <a:pPr lvl="1">
              <a:lnSpc>
                <a:spcPct val="150000"/>
              </a:lnSpc>
            </a:pPr>
            <a:r>
              <a:rPr lang="en-ZA" sz="1800" dirty="0"/>
              <a:t>Delays in communication and speech… </a:t>
            </a:r>
            <a:r>
              <a:rPr lang="en-ZA" sz="1800" i="1" dirty="0"/>
              <a:t>WHO, 2021</a:t>
            </a:r>
          </a:p>
          <a:p>
            <a:pPr lvl="1">
              <a:lnSpc>
                <a:spcPct val="150000"/>
              </a:lnSpc>
            </a:pPr>
            <a:r>
              <a:rPr lang="en-ZA" sz="1800" dirty="0"/>
              <a:t>Slow learning and poor schooling… </a:t>
            </a:r>
            <a:r>
              <a:rPr lang="en-ZA" sz="1800" i="1" dirty="0"/>
              <a:t>Peer, 2015</a:t>
            </a:r>
          </a:p>
          <a:p>
            <a:pPr lvl="1">
              <a:lnSpc>
                <a:spcPct val="150000"/>
              </a:lnSpc>
            </a:pPr>
            <a:r>
              <a:rPr lang="en-ZA" sz="1800" dirty="0"/>
              <a:t>Problems with employment and societal integration in the long term … </a:t>
            </a:r>
            <a:r>
              <a:rPr lang="en-ZA" sz="1800" i="1" dirty="0"/>
              <a:t>Peer, 2015</a:t>
            </a:r>
          </a:p>
          <a:p>
            <a:pPr lvl="1">
              <a:lnSpc>
                <a:spcPct val="150000"/>
              </a:lnSpc>
            </a:pPr>
            <a:r>
              <a:rPr lang="en-ZA" sz="1800" dirty="0"/>
              <a:t>Increased mental load – decline in memory…. </a:t>
            </a:r>
            <a:r>
              <a:rPr lang="en-ZA" sz="1800" i="1" dirty="0" err="1"/>
              <a:t>Rönnberg</a:t>
            </a:r>
            <a:r>
              <a:rPr lang="en-ZA" sz="1800" i="1" dirty="0"/>
              <a:t> et al. (2013). </a:t>
            </a:r>
          </a:p>
          <a:p>
            <a:pPr>
              <a:lnSpc>
                <a:spcPct val="150000"/>
              </a:lnSpc>
            </a:pPr>
            <a:r>
              <a:rPr lang="en-ZA" sz="2000" b="1" dirty="0"/>
              <a:t>Psycho-social impact</a:t>
            </a:r>
          </a:p>
          <a:p>
            <a:pPr lvl="1">
              <a:lnSpc>
                <a:spcPct val="150000"/>
              </a:lnSpc>
            </a:pPr>
            <a:r>
              <a:rPr lang="en-ZA" sz="1800" dirty="0"/>
              <a:t>People with hearing loss have larger risk of mental health issues such as </a:t>
            </a:r>
            <a:r>
              <a:rPr lang="en-ZA" sz="1800" b="1" dirty="0"/>
              <a:t>depression and dementia</a:t>
            </a:r>
            <a:r>
              <a:rPr lang="en-ZA" sz="1800" dirty="0"/>
              <a:t>… </a:t>
            </a:r>
            <a:r>
              <a:rPr lang="en-ZA" sz="1800" u="none" strike="noStrike" baseline="0" dirty="0"/>
              <a:t>Barnett et al, 2016</a:t>
            </a:r>
            <a:endParaRPr lang="en-ZA" sz="1800" dirty="0"/>
          </a:p>
          <a:p>
            <a:pPr lvl="1">
              <a:lnSpc>
                <a:spcPct val="150000"/>
              </a:lnSpc>
            </a:pPr>
            <a:r>
              <a:rPr lang="en-ZA" sz="1800" dirty="0"/>
              <a:t>Social isolation, loneliness and stigma …. </a:t>
            </a:r>
            <a:r>
              <a:rPr lang="en-ZA" sz="1800" i="1" dirty="0"/>
              <a:t>WHO, 2021</a:t>
            </a:r>
          </a:p>
          <a:p>
            <a:pPr>
              <a:lnSpc>
                <a:spcPct val="150000"/>
              </a:lnSpc>
            </a:pPr>
            <a:r>
              <a:rPr lang="en-ZA" sz="2000" b="1" dirty="0"/>
              <a:t>Physical </a:t>
            </a:r>
          </a:p>
          <a:p>
            <a:pPr lvl="1">
              <a:lnSpc>
                <a:spcPct val="150000"/>
              </a:lnSpc>
            </a:pPr>
            <a:r>
              <a:rPr lang="en-ZA" sz="1800" dirty="0"/>
              <a:t>Poor balance and fall-related injuries…. Lin et al. (2012). </a:t>
            </a:r>
            <a:endParaRPr lang="en-US" sz="1800" dirty="0"/>
          </a:p>
          <a:p>
            <a:pPr lvl="1">
              <a:lnSpc>
                <a:spcPct val="150000"/>
              </a:lnSpc>
            </a:pPr>
            <a:endParaRPr lang="en-ZA" sz="1800" dirty="0"/>
          </a:p>
          <a:p>
            <a:pPr>
              <a:lnSpc>
                <a:spcPct val="150000"/>
              </a:lnSpc>
            </a:pPr>
            <a:endParaRPr lang="en-ZA" sz="2400" dirty="0"/>
          </a:p>
          <a:p>
            <a:pPr lvl="1">
              <a:lnSpc>
                <a:spcPct val="150000"/>
              </a:lnSpc>
            </a:pPr>
            <a:endParaRPr lang="en-ZA" sz="1600" dirty="0"/>
          </a:p>
          <a:p>
            <a:pPr>
              <a:lnSpc>
                <a:spcPct val="150000"/>
              </a:lnSpc>
            </a:pPr>
            <a:endParaRPr lang="en-ZA" sz="2400" dirty="0"/>
          </a:p>
          <a:p>
            <a:pPr>
              <a:lnSpc>
                <a:spcPct val="150000"/>
              </a:lnSpc>
            </a:pPr>
            <a:endParaRPr lang="en-ZA" sz="2400" dirty="0"/>
          </a:p>
        </p:txBody>
      </p:sp>
      <p:sp>
        <p:nvSpPr>
          <p:cNvPr id="4" name="Title 1">
            <a:extLst>
              <a:ext uri="{FF2B5EF4-FFF2-40B4-BE49-F238E27FC236}">
                <a16:creationId xmlns:a16="http://schemas.microsoft.com/office/drawing/2014/main" xmlns="" id="{2E28AED6-C8A0-47C8-A401-70156C14B5B5}"/>
              </a:ext>
            </a:extLst>
          </p:cNvPr>
          <p:cNvSpPr txBox="1">
            <a:spLocks/>
          </p:cNvSpPr>
          <p:nvPr/>
        </p:nvSpPr>
        <p:spPr>
          <a:xfrm>
            <a:off x="807522" y="608682"/>
            <a:ext cx="9828810" cy="62331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2800" b="1" dirty="0">
              <a:latin typeface="+mn-lt"/>
            </a:endParaRPr>
          </a:p>
        </p:txBody>
      </p:sp>
    </p:spTree>
    <p:extLst>
      <p:ext uri="{BB962C8B-B14F-4D97-AF65-F5344CB8AC3E}">
        <p14:creationId xmlns:p14="http://schemas.microsoft.com/office/powerpoint/2010/main" xmlns="" val="26700693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01C16CF-8A93-42E9-AC07-53812C15CC4E}"/>
              </a:ext>
            </a:extLst>
          </p:cNvPr>
          <p:cNvSpPr>
            <a:spLocks noGrp="1"/>
          </p:cNvSpPr>
          <p:nvPr>
            <p:ph type="title"/>
          </p:nvPr>
        </p:nvSpPr>
        <p:spPr>
          <a:xfrm>
            <a:off x="695324" y="804335"/>
            <a:ext cx="10536675" cy="775597"/>
          </a:xfrm>
        </p:spPr>
        <p:txBody>
          <a:bodyPr/>
          <a:lstStyle/>
          <a:p>
            <a:r>
              <a:rPr lang="en-US" sz="2800" b="1" dirty="0">
                <a:latin typeface="+mn-lt"/>
              </a:rPr>
              <a:t>Audiology as a Prescribed Minimum Benefit PMBs – National Impact</a:t>
            </a:r>
          </a:p>
        </p:txBody>
      </p:sp>
      <p:sp>
        <p:nvSpPr>
          <p:cNvPr id="3" name="Content Placeholder 2">
            <a:extLst>
              <a:ext uri="{FF2B5EF4-FFF2-40B4-BE49-F238E27FC236}">
                <a16:creationId xmlns:a16="http://schemas.microsoft.com/office/drawing/2014/main" xmlns="" id="{2118C215-C2F2-4AB3-AE47-A2172E368BD4}"/>
              </a:ext>
            </a:extLst>
          </p:cNvPr>
          <p:cNvSpPr>
            <a:spLocks noGrp="1"/>
          </p:cNvSpPr>
          <p:nvPr>
            <p:ph idx="1"/>
          </p:nvPr>
        </p:nvSpPr>
        <p:spPr>
          <a:xfrm>
            <a:off x="695324" y="1532258"/>
            <a:ext cx="10536675" cy="3793483"/>
          </a:xfrm>
        </p:spPr>
        <p:txBody>
          <a:bodyPr>
            <a:noAutofit/>
          </a:bodyPr>
          <a:lstStyle/>
          <a:p>
            <a:pPr>
              <a:lnSpc>
                <a:spcPct val="160000"/>
              </a:lnSpc>
            </a:pPr>
            <a:r>
              <a:rPr lang="en-ZA" sz="1800" dirty="0"/>
              <a:t>Hearing loss has a negative impact on overall health and is associated with increased use of healthcare. </a:t>
            </a:r>
          </a:p>
          <a:p>
            <a:pPr>
              <a:lnSpc>
                <a:spcPct val="160000"/>
              </a:lnSpc>
            </a:pPr>
            <a:r>
              <a:rPr lang="en-ZA" sz="1800" dirty="0"/>
              <a:t>Societies can gain large social and economic benefits by investing in proper hearing care.</a:t>
            </a:r>
          </a:p>
          <a:p>
            <a:pPr marL="0" indent="0">
              <a:lnSpc>
                <a:spcPct val="150000"/>
              </a:lnSpc>
              <a:buNone/>
            </a:pPr>
            <a:endParaRPr lang="en-ZA" sz="1800" dirty="0"/>
          </a:p>
          <a:p>
            <a:pPr>
              <a:lnSpc>
                <a:spcPct val="170000"/>
              </a:lnSpc>
            </a:pPr>
            <a:r>
              <a:rPr lang="en-ZA" sz="1800" dirty="0"/>
              <a:t>WHO estimates that unaddressed hearing loss poses an annual global cost of US$ 980 billion. This includes health sector costs (excluding the cost of hearing devices), costs of educational support, loss of productivity, and societal costs. 57% of these costs are attributed to low- and middle-income countries.</a:t>
            </a:r>
          </a:p>
          <a:p>
            <a:pPr>
              <a:lnSpc>
                <a:spcPct val="170000"/>
              </a:lnSpc>
            </a:pPr>
            <a:r>
              <a:rPr lang="en-ZA" sz="1800" dirty="0"/>
              <a:t>Hearing aid fitting especially in older adults thus will prevent social withdrawal and diminishes the risk of cognitive decline and depression.</a:t>
            </a:r>
          </a:p>
          <a:p>
            <a:pPr>
              <a:lnSpc>
                <a:spcPct val="150000"/>
              </a:lnSpc>
            </a:pPr>
            <a:endParaRPr lang="en-ZA" sz="1800" b="0" i="0" u="none" strike="noStrike" baseline="0" dirty="0">
              <a:solidFill>
                <a:srgbClr val="333333"/>
              </a:solidFill>
            </a:endParaRPr>
          </a:p>
          <a:p>
            <a:pPr>
              <a:lnSpc>
                <a:spcPct val="150000"/>
              </a:lnSpc>
            </a:pPr>
            <a:endParaRPr lang="en-ZA" sz="1800" dirty="0"/>
          </a:p>
        </p:txBody>
      </p:sp>
      <p:sp>
        <p:nvSpPr>
          <p:cNvPr id="4" name="TextBox 3">
            <a:extLst>
              <a:ext uri="{FF2B5EF4-FFF2-40B4-BE49-F238E27FC236}">
                <a16:creationId xmlns:a16="http://schemas.microsoft.com/office/drawing/2014/main" xmlns="" id="{D779C387-DDC2-4E62-83CE-A3D2D859FB31}"/>
              </a:ext>
            </a:extLst>
          </p:cNvPr>
          <p:cNvSpPr txBox="1"/>
          <p:nvPr/>
        </p:nvSpPr>
        <p:spPr>
          <a:xfrm>
            <a:off x="9355873" y="2945005"/>
            <a:ext cx="2520175" cy="338554"/>
          </a:xfrm>
          <a:prstGeom prst="rect">
            <a:avLst/>
          </a:prstGeom>
          <a:noFill/>
        </p:spPr>
        <p:txBody>
          <a:bodyPr wrap="square" rtlCol="0">
            <a:spAutoFit/>
          </a:bodyPr>
          <a:lstStyle/>
          <a:p>
            <a:r>
              <a:rPr lang="en-ZA" sz="1600" i="1" dirty="0">
                <a:solidFill>
                  <a:schemeClr val="accent1"/>
                </a:solidFill>
                <a:latin typeface="+mj-lt"/>
              </a:rPr>
              <a:t>Barnett et al, 2016</a:t>
            </a:r>
          </a:p>
        </p:txBody>
      </p:sp>
      <p:sp>
        <p:nvSpPr>
          <p:cNvPr id="5" name="TextBox 4">
            <a:extLst>
              <a:ext uri="{FF2B5EF4-FFF2-40B4-BE49-F238E27FC236}">
                <a16:creationId xmlns:a16="http://schemas.microsoft.com/office/drawing/2014/main" xmlns="" id="{568B4186-30FA-4251-871B-CCF281329107}"/>
              </a:ext>
            </a:extLst>
          </p:cNvPr>
          <p:cNvSpPr txBox="1"/>
          <p:nvPr/>
        </p:nvSpPr>
        <p:spPr>
          <a:xfrm>
            <a:off x="9355873" y="5156464"/>
            <a:ext cx="1942556" cy="338554"/>
          </a:xfrm>
          <a:prstGeom prst="rect">
            <a:avLst/>
          </a:prstGeom>
          <a:noFill/>
        </p:spPr>
        <p:txBody>
          <a:bodyPr wrap="square" rtlCol="0">
            <a:spAutoFit/>
          </a:bodyPr>
          <a:lstStyle/>
          <a:p>
            <a:r>
              <a:rPr lang="en-ZA" sz="1600" i="1" dirty="0">
                <a:solidFill>
                  <a:schemeClr val="accent1"/>
                </a:solidFill>
                <a:latin typeface="+mj-lt"/>
              </a:rPr>
              <a:t>WHO, 2021</a:t>
            </a:r>
          </a:p>
        </p:txBody>
      </p:sp>
      <p:sp>
        <p:nvSpPr>
          <p:cNvPr id="7" name="TextBox 6">
            <a:extLst>
              <a:ext uri="{FF2B5EF4-FFF2-40B4-BE49-F238E27FC236}">
                <a16:creationId xmlns:a16="http://schemas.microsoft.com/office/drawing/2014/main" xmlns="" id="{999E30B5-21D4-4A20-9A6F-66267E98A492}"/>
              </a:ext>
            </a:extLst>
          </p:cNvPr>
          <p:cNvSpPr txBox="1"/>
          <p:nvPr/>
        </p:nvSpPr>
        <p:spPr>
          <a:xfrm>
            <a:off x="9355873" y="6226318"/>
            <a:ext cx="1942556" cy="338554"/>
          </a:xfrm>
          <a:prstGeom prst="rect">
            <a:avLst/>
          </a:prstGeom>
          <a:noFill/>
        </p:spPr>
        <p:txBody>
          <a:bodyPr wrap="square" rtlCol="0">
            <a:spAutoFit/>
          </a:bodyPr>
          <a:lstStyle/>
          <a:p>
            <a:r>
              <a:rPr lang="en-ZA" sz="1600" i="1" dirty="0">
                <a:solidFill>
                  <a:schemeClr val="accent1"/>
                </a:solidFill>
                <a:latin typeface="+mj-lt"/>
              </a:rPr>
              <a:t>Lawrence, 2019</a:t>
            </a:r>
          </a:p>
        </p:txBody>
      </p:sp>
    </p:spTree>
    <p:extLst>
      <p:ext uri="{BB962C8B-B14F-4D97-AF65-F5344CB8AC3E}">
        <p14:creationId xmlns:p14="http://schemas.microsoft.com/office/powerpoint/2010/main" xmlns="" val="2973433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Autofit/>
          </a:bodyPr>
          <a:lstStyle/>
          <a:p>
            <a:r>
              <a:rPr lang="en-US" sz="2800" dirty="0">
                <a:latin typeface="+mn-lt"/>
              </a:rPr>
              <a:t>Audiology as a Prescribed Minimum Benefit PMBs</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433633" y="1459436"/>
            <a:ext cx="11151909" cy="3793483"/>
          </a:xfrm>
        </p:spPr>
        <p:txBody>
          <a:bodyPr>
            <a:noAutofit/>
          </a:bodyPr>
          <a:lstStyle/>
          <a:p>
            <a:pPr algn="just">
              <a:lnSpc>
                <a:spcPct val="160000"/>
              </a:lnSpc>
            </a:pPr>
            <a:r>
              <a:rPr lang="en-ZA" sz="1500" dirty="0"/>
              <a:t>People with hearing impairment are disabled and therefore vulnerable. However, some of these people can be provided, the opportunity to hear, or improved hearing. Further, detection and treatment at an early age will prevent deterioration and assist with speech. If missed, at the early age, it may result in permanent hearing loss.</a:t>
            </a:r>
          </a:p>
          <a:p>
            <a:pPr algn="just">
              <a:lnSpc>
                <a:spcPct val="160000"/>
              </a:lnSpc>
            </a:pPr>
            <a:r>
              <a:rPr lang="en-ZA" sz="1500" dirty="0"/>
              <a:t>Being provided with the ability to hear through hearing aid devices, such as the ones produced by Oticon, provides quality of life, dignity and opportunity to be independent and to participate in their communities.</a:t>
            </a:r>
          </a:p>
          <a:p>
            <a:pPr algn="just">
              <a:lnSpc>
                <a:spcPct val="160000"/>
              </a:lnSpc>
            </a:pPr>
            <a:r>
              <a:rPr lang="en-ZA" sz="1500" dirty="0"/>
              <a:t>People with this disability can the be empowered to participate in the community, which includes seeking jobs, and doing jobs not previously being able to be done due to the disability. Two-thirds of adults with hearing loss are in the economic prime of their life. Economic participation is very important in South Africa.</a:t>
            </a:r>
          </a:p>
          <a:p>
            <a:pPr algn="just">
              <a:lnSpc>
                <a:spcPct val="160000"/>
              </a:lnSpc>
            </a:pPr>
            <a:r>
              <a:rPr lang="en-ZA" sz="1500" dirty="0"/>
              <a:t>Despite these factors, audiology currently has no place in the NHI/the Bill and the Medical Schemes Act 131 of 1998 and it is still considered by both as an optional treatment. </a:t>
            </a:r>
            <a:r>
              <a:rPr lang="en-ZA" sz="1500" b="1" u="sng" dirty="0"/>
              <a:t>Oticon believes that audiology should be included in the NHI and the current PMB’s as a minimum benefit to provide the hearing impaired the opportunity to hear and have a good quality of life and job opportunities.</a:t>
            </a:r>
            <a:endParaRPr lang="en-US" sz="1500" b="1" u="sng" dirty="0"/>
          </a:p>
        </p:txBody>
      </p:sp>
    </p:spTree>
    <p:extLst>
      <p:ext uri="{BB962C8B-B14F-4D97-AF65-F5344CB8AC3E}">
        <p14:creationId xmlns:p14="http://schemas.microsoft.com/office/powerpoint/2010/main" xmlns="" val="2884474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41F5F-6561-664F-9E9E-2D16AEA401DD}"/>
              </a:ext>
            </a:extLst>
          </p:cNvPr>
          <p:cNvSpPr>
            <a:spLocks noGrp="1"/>
          </p:cNvSpPr>
          <p:nvPr>
            <p:ph type="title"/>
          </p:nvPr>
        </p:nvSpPr>
        <p:spPr/>
        <p:txBody>
          <a:bodyPr>
            <a:normAutofit/>
          </a:bodyPr>
          <a:lstStyle/>
          <a:p>
            <a:pPr algn="l"/>
            <a:r>
              <a:rPr lang="en-US" sz="2800" b="1" dirty="0">
                <a:latin typeface="+mn-lt"/>
              </a:rPr>
              <a:t>Oticon submission summary</a:t>
            </a:r>
          </a:p>
        </p:txBody>
      </p:sp>
      <p:sp>
        <p:nvSpPr>
          <p:cNvPr id="3" name="Subtitle 2">
            <a:extLst>
              <a:ext uri="{FF2B5EF4-FFF2-40B4-BE49-F238E27FC236}">
                <a16:creationId xmlns:a16="http://schemas.microsoft.com/office/drawing/2014/main" xmlns="" id="{FF80D265-6014-054F-9FA6-6C5E9686451B}"/>
              </a:ext>
            </a:extLst>
          </p:cNvPr>
          <p:cNvSpPr>
            <a:spLocks noGrp="1"/>
          </p:cNvSpPr>
          <p:nvPr>
            <p:ph idx="1"/>
          </p:nvPr>
        </p:nvSpPr>
        <p:spPr>
          <a:xfrm>
            <a:off x="695323" y="1459436"/>
            <a:ext cx="10536675" cy="4937210"/>
          </a:xfrm>
        </p:spPr>
        <p:txBody>
          <a:bodyPr>
            <a:normAutofit lnSpcReduction="10000"/>
          </a:bodyPr>
          <a:lstStyle/>
          <a:p>
            <a:pPr algn="l">
              <a:lnSpc>
                <a:spcPct val="150000"/>
              </a:lnSpc>
            </a:pPr>
            <a:r>
              <a:rPr lang="en-US" sz="1800" b="1" dirty="0"/>
              <a:t>Inclusive approach: </a:t>
            </a:r>
            <a:r>
              <a:rPr lang="en-US" sz="1800" dirty="0"/>
              <a:t>Our belief is that having one funder can cripple the health industry of the country and create barriers to access, the very barriers that the NHI is attempting to breach. The exclusive approach will also limit users’ right to choose. We therefore propose there be a multiple funder system in place, which will allow for flexibility and ensure broader and better coverage. It will also provide some level of a risk- equalization mechanism and appropriate care in higher risk pools. </a:t>
            </a:r>
          </a:p>
          <a:p>
            <a:pPr algn="l">
              <a:lnSpc>
                <a:spcPct val="150000"/>
              </a:lnSpc>
            </a:pPr>
            <a:r>
              <a:rPr lang="en-US" sz="1800" b="1" dirty="0"/>
              <a:t>Funding: </a:t>
            </a:r>
            <a:r>
              <a:rPr lang="en-US" sz="1800" dirty="0"/>
              <a:t>Prior to the implementation of the NHIF, there must be a guarantee that there is capacity to fund the NHI. From the available literature, the evidence is pointing to the fact that the funding the NHI is no longer affordable, this was part of the the including the findings by the Davies Tax Committee in 2017.  Without financial stability and sustainability, the NHI will fail. The failure will leave 100% of the population without funding and therefore no treatment, particularly if it is a single funder system as proposed in the Bill, which we disagree with precisely for this and other reasons. This will be a contravention of section 27 of the Constitution.</a:t>
            </a:r>
          </a:p>
          <a:p>
            <a:pPr algn="l">
              <a:lnSpc>
                <a:spcPct val="150000"/>
              </a:lnSpc>
            </a:pPr>
            <a:endParaRPr lang="en-ZA" sz="1800" dirty="0"/>
          </a:p>
          <a:p>
            <a:pPr algn="l">
              <a:lnSpc>
                <a:spcPct val="150000"/>
              </a:lnSpc>
            </a:pPr>
            <a:endParaRPr lang="en-US" sz="1800" dirty="0"/>
          </a:p>
        </p:txBody>
      </p:sp>
    </p:spTree>
    <p:extLst>
      <p:ext uri="{BB962C8B-B14F-4D97-AF65-F5344CB8AC3E}">
        <p14:creationId xmlns:p14="http://schemas.microsoft.com/office/powerpoint/2010/main" xmlns="" val="4870735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kSruWsnPuL5Y9IR4BJIe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VpoFtD8xl2SOCojNSdw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eV3yX05sRvkA4JJCePXUA"/>
</p:tagLst>
</file>

<file path=ppt/theme/theme1.xml><?xml version="1.0" encoding="utf-8"?>
<a:theme xmlns:a="http://schemas.openxmlformats.org/drawingml/2006/main" name="Kontortema">
  <a:themeElements>
    <a:clrScheme name="Custom 37">
      <a:dk1>
        <a:sysClr val="windowText" lastClr="000000"/>
      </a:dk1>
      <a:lt1>
        <a:sysClr val="window" lastClr="FFFFFF"/>
      </a:lt1>
      <a:dk2>
        <a:srgbClr val="5C5C5C"/>
      </a:dk2>
      <a:lt2>
        <a:srgbClr val="E2E2E2"/>
      </a:lt2>
      <a:accent1>
        <a:srgbClr val="24405B"/>
      </a:accent1>
      <a:accent2>
        <a:srgbClr val="74CECD"/>
      </a:accent2>
      <a:accent3>
        <a:srgbClr val="90D6FC"/>
      </a:accent3>
      <a:accent4>
        <a:srgbClr val="B9B9AD"/>
      </a:accent4>
      <a:accent5>
        <a:srgbClr val="F9B200"/>
      </a:accent5>
      <a:accent6>
        <a:srgbClr val="3344F6"/>
      </a:accent6>
      <a:hlink>
        <a:srgbClr val="064070"/>
      </a:hlink>
      <a:folHlink>
        <a:srgbClr val="66A1C6"/>
      </a:folHlink>
    </a:clrScheme>
    <a:fontScheme name="Custom 28">
      <a:majorFont>
        <a:latin typeface="Arial (Header)"/>
        <a:ea typeface=""/>
        <a:cs typeface=""/>
      </a:majorFont>
      <a:minorFont>
        <a:latin typeface="Arial (Bod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2000" dirty="0" smtClean="0">
            <a:solidFill>
              <a:schemeClr val="tx2"/>
            </a:solidFill>
            <a:latin typeface="+mj-lt"/>
          </a:defRPr>
        </a:defPPr>
      </a:lstStyle>
    </a:txDef>
  </a:objectDefaults>
  <a:extraClrSchemeLst/>
  <a:extLst>
    <a:ext uri="{05A4C25C-085E-4340-85A3-A5531E510DB2}">
      <thm15:themeFamily xmlns:thm15="http://schemas.microsoft.com/office/thememl/2012/main" xmlns="" name="Demant ppt template.pptx" id="{C988F7CA-812F-4DC5-8126-49B20F383C69}" vid="{E703F21C-1E6D-4981-A675-B7B6ED5A15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35</TotalTime>
  <Words>3183</Words>
  <Application>Microsoft Office PowerPoint</Application>
  <PresentationFormat>Custom</PresentationFormat>
  <Paragraphs>162</Paragraphs>
  <Slides>25</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Kontortema</vt:lpstr>
      <vt:lpstr>think-cell Slide</vt:lpstr>
      <vt:lpstr>PRESENTATION TO THE PORTFOLIO COMMITTEE ON HEALTH NHI Bill </vt:lpstr>
      <vt:lpstr>ABOUT OTICON SOUTH AFRICA - NOW DEMANT SOUTH AFRICA</vt:lpstr>
      <vt:lpstr>Discussion Points</vt:lpstr>
      <vt:lpstr>Background</vt:lpstr>
      <vt:lpstr>Audiology as a Prescribed Minimum Benefit PMBs - Prevalence </vt:lpstr>
      <vt:lpstr>Audiology as a Prescribed Minimum Benefit PMBs – Individual Impact </vt:lpstr>
      <vt:lpstr>Audiology as a Prescribed Minimum Benefit PMBs – National Impact</vt:lpstr>
      <vt:lpstr>Audiology as a Prescribed Minimum Benefit PMBs</vt:lpstr>
      <vt:lpstr>Oticon submission summary</vt:lpstr>
      <vt:lpstr>Oticon submission summary - Pricing</vt:lpstr>
      <vt:lpstr>Oticon submission summary - Pricing </vt:lpstr>
      <vt:lpstr>Oticon submission summary - Pricing </vt:lpstr>
      <vt:lpstr>Oticon submission summary - Innovation</vt:lpstr>
      <vt:lpstr>Oticon submission summary - Innovation </vt:lpstr>
      <vt:lpstr>Oticon submission summary - Formulary</vt:lpstr>
      <vt:lpstr>Oticon submission summary – Treatment Guidelines</vt:lpstr>
      <vt:lpstr>Oticon submission summary – Payment of Providers and Suppliers</vt:lpstr>
      <vt:lpstr>Oticon submission summary – Payment of Providers and Suppliers</vt:lpstr>
      <vt:lpstr>Oticon submission summary – The Medicines Act</vt:lpstr>
      <vt:lpstr>Oticon submission summary – Supply Chain and Delivery</vt:lpstr>
      <vt:lpstr>Oticon submission summary – SAHPRA</vt:lpstr>
      <vt:lpstr>Oticon submission summary – BBBEE</vt:lpstr>
      <vt:lpstr>Oticon submission summary – Benefit Package Development</vt:lpstr>
      <vt:lpstr>Oticon submission summary – Governance</vt:lpstr>
      <vt:lpstr>CONCLUSION</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TICON</dc:title>
  <dc:creator>pat</dc:creator>
  <cp:lastModifiedBy>USER</cp:lastModifiedBy>
  <cp:revision>46</cp:revision>
  <dcterms:created xsi:type="dcterms:W3CDTF">2021-07-09T13:43:27Z</dcterms:created>
  <dcterms:modified xsi:type="dcterms:W3CDTF">2021-07-28T14:01:19Z</dcterms:modified>
</cp:coreProperties>
</file>